
<file path=[Content_Types].xml><?xml version="1.0" encoding="utf-8"?>
<Types xmlns="http://schemas.openxmlformats.org/package/2006/content-types"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heme/theme2.xml" ContentType="application/vnd.openxmlformats-officedocument.them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heme/theme3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heme/themeOverride1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37"/>
  </p:notesMasterIdLst>
  <p:handoutMasterIdLst>
    <p:handoutMasterId r:id="rId38"/>
  </p:handoutMasterIdLst>
  <p:sldIdLst>
    <p:sldId id="328" r:id="rId2"/>
    <p:sldId id="329" r:id="rId3"/>
    <p:sldId id="330" r:id="rId4"/>
    <p:sldId id="293" r:id="rId5"/>
    <p:sldId id="331" r:id="rId6"/>
    <p:sldId id="295" r:id="rId7"/>
    <p:sldId id="297" r:id="rId8"/>
    <p:sldId id="303" r:id="rId9"/>
    <p:sldId id="302" r:id="rId10"/>
    <p:sldId id="298" r:id="rId11"/>
    <p:sldId id="299" r:id="rId12"/>
    <p:sldId id="300" r:id="rId13"/>
    <p:sldId id="304" r:id="rId14"/>
    <p:sldId id="305" r:id="rId15"/>
    <p:sldId id="307" r:id="rId16"/>
    <p:sldId id="308" r:id="rId17"/>
    <p:sldId id="309" r:id="rId18"/>
    <p:sldId id="310" r:id="rId19"/>
    <p:sldId id="311" r:id="rId20"/>
    <p:sldId id="312" r:id="rId21"/>
    <p:sldId id="313" r:id="rId22"/>
    <p:sldId id="314" r:id="rId23"/>
    <p:sldId id="315" r:id="rId24"/>
    <p:sldId id="316" r:id="rId25"/>
    <p:sldId id="317" r:id="rId26"/>
    <p:sldId id="318" r:id="rId27"/>
    <p:sldId id="319" r:id="rId28"/>
    <p:sldId id="320" r:id="rId29"/>
    <p:sldId id="321" r:id="rId30"/>
    <p:sldId id="322" r:id="rId31"/>
    <p:sldId id="323" r:id="rId32"/>
    <p:sldId id="324" r:id="rId33"/>
    <p:sldId id="325" r:id="rId34"/>
    <p:sldId id="332" r:id="rId35"/>
    <p:sldId id="327" r:id="rId36"/>
  </p:sldIdLst>
  <p:sldSz cx="12192000" cy="6858000"/>
  <p:notesSz cx="6858000" cy="9144000"/>
  <p:custDataLst>
    <p:tags r:id="rId3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6thSX" id="{6DEFF034-3CB8-4E85-9395-3CB97C25EDDD}">
          <p14:sldIdLst>
            <p14:sldId id="328"/>
            <p14:sldId id="329"/>
            <p14:sldId id="330"/>
            <p14:sldId id="293"/>
            <p14:sldId id="331"/>
            <p14:sldId id="295"/>
            <p14:sldId id="297"/>
            <p14:sldId id="303"/>
            <p14:sldId id="302"/>
            <p14:sldId id="298"/>
            <p14:sldId id="299"/>
            <p14:sldId id="300"/>
            <p14:sldId id="304"/>
            <p14:sldId id="305"/>
            <p14:sldId id="307"/>
            <p14:sldId id="308"/>
            <p14:sldId id="309"/>
            <p14:sldId id="310"/>
            <p14:sldId id="311"/>
            <p14:sldId id="312"/>
            <p14:sldId id="313"/>
            <p14:sldId id="314"/>
            <p14:sldId id="315"/>
            <p14:sldId id="316"/>
            <p14:sldId id="317"/>
            <p14:sldId id="318"/>
            <p14:sldId id="319"/>
            <p14:sldId id="320"/>
            <p14:sldId id="321"/>
            <p14:sldId id="322"/>
            <p14:sldId id="323"/>
            <p14:sldId id="324"/>
            <p14:sldId id="325"/>
            <p14:sldId id="332"/>
            <p14:sldId id="327"/>
          </p14:sldIdLst>
        </p14:section>
      </p14:sectionLst>
    </p:ext>
    <p:ext uri="{EFAFB233-063F-42B5-8137-9DF3F51BA10A}">
      <p15:sldGuideLst xmlns:p15="http://schemas.microsoft.com/office/powerpoint/2012/main">
        <p15:guide id="3" orient="horz" pos="2160">
          <p15:clr>
            <a:srgbClr val="A4A3A4"/>
          </p15:clr>
        </p15:guide>
        <p15:guide id="4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na Drimmel" initials="CD" lastIdx="132" clrIdx="0">
    <p:extLst>
      <p:ext uri="{19B8F6BF-5375-455C-9EA6-DF929625EA0E}">
        <p15:presenceInfo xmlns:p15="http://schemas.microsoft.com/office/powerpoint/2012/main" userId="Christina Drimmel" providerId="None"/>
      </p:ext>
    </p:extLst>
  </p:cmAuthor>
  <p:cmAuthor id="2" name="Springer" initials="S" lastIdx="18" clrIdx="1">
    <p:extLst>
      <p:ext uri="{19B8F6BF-5375-455C-9EA6-DF929625EA0E}">
        <p15:presenceInfo xmlns:p15="http://schemas.microsoft.com/office/powerpoint/2012/main" userId="Springer" providerId="None"/>
      </p:ext>
    </p:extLst>
  </p:cmAuthor>
  <p:cmAuthor id="3" name="Sebastian" initials="S" lastIdx="33" clrIdx="2">
    <p:extLst>
      <p:ext uri="{19B8F6BF-5375-455C-9EA6-DF929625EA0E}">
        <p15:presenceInfo xmlns:p15="http://schemas.microsoft.com/office/powerpoint/2012/main" userId="Sebasti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AFC9"/>
    <a:srgbClr val="7DA4C1"/>
    <a:srgbClr val="6190B3"/>
    <a:srgbClr val="4C7B9E"/>
    <a:srgbClr val="3E6582"/>
    <a:srgbClr val="BAC7D5"/>
    <a:srgbClr val="456F90"/>
    <a:srgbClr val="8CA6BF"/>
    <a:srgbClr val="A4B7CA"/>
    <a:srgbClr val="4B78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567BB2-0386-D26B-82F4-0AF2DB4D84F9}" v="716" dt="2025-10-07T02:22:34.6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384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45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Relationship Id="rId46" Type="http://schemas.microsoft.com/office/2015/10/relationships/revisionInfo" Target="revisionInfo.xml"/><Relationship Id="rId20" Type="http://schemas.openxmlformats.org/officeDocument/2006/relationships/slide" Target="slides/slide19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olzfeind, Katrin" userId="S::katrin.holzfeind@tuwien.ac.at::fb41e3c4-5638-4a31-ac16-1792da400b46" providerId="AD" clId="Web-{617A278A-6038-CA41-8902-FE3070EA9A3A}"/>
    <pc:docChg chg="modSld">
      <pc:chgData name="Holzfeind, Katrin" userId="S::katrin.holzfeind@tuwien.ac.at::fb41e3c4-5638-4a31-ac16-1792da400b46" providerId="AD" clId="Web-{617A278A-6038-CA41-8902-FE3070EA9A3A}" dt="2025-10-01T08:56:49.848" v="271" actId="20577"/>
      <pc:docMkLst>
        <pc:docMk/>
      </pc:docMkLst>
      <pc:sldChg chg="addSp delSp modSp">
        <pc:chgData name="Holzfeind, Katrin" userId="S::katrin.holzfeind@tuwien.ac.at::fb41e3c4-5638-4a31-ac16-1792da400b46" providerId="AD" clId="Web-{617A278A-6038-CA41-8902-FE3070EA9A3A}" dt="2025-10-01T08:07:39.263" v="237" actId="1076"/>
        <pc:sldMkLst>
          <pc:docMk/>
          <pc:sldMk cId="4024586435" sldId="293"/>
        </pc:sldMkLst>
        <pc:spChg chg="add mod">
          <ac:chgData name="Holzfeind, Katrin" userId="S::katrin.holzfeind@tuwien.ac.at::fb41e3c4-5638-4a31-ac16-1792da400b46" providerId="AD" clId="Web-{617A278A-6038-CA41-8902-FE3070EA9A3A}" dt="2025-10-01T08:07:39.263" v="237" actId="1076"/>
          <ac:spMkLst>
            <pc:docMk/>
            <pc:sldMk cId="4024586435" sldId="293"/>
            <ac:spMk id="5" creationId="{87C38115-7088-AEF2-C8C7-3C510AB2F0ED}"/>
          </ac:spMkLst>
        </pc:spChg>
        <pc:spChg chg="mod">
          <ac:chgData name="Holzfeind, Katrin" userId="S::katrin.holzfeind@tuwien.ac.at::fb41e3c4-5638-4a31-ac16-1792da400b46" providerId="AD" clId="Web-{617A278A-6038-CA41-8902-FE3070EA9A3A}" dt="2025-10-01T08:07:27.122" v="235" actId="20577"/>
          <ac:spMkLst>
            <pc:docMk/>
            <pc:sldMk cId="4024586435" sldId="293"/>
            <ac:spMk id="7" creationId="{00000000-0000-0000-0000-000000000000}"/>
          </ac:spMkLst>
        </pc:spChg>
        <pc:picChg chg="add mod modCrop">
          <ac:chgData name="Holzfeind, Katrin" userId="S::katrin.holzfeind@tuwien.ac.at::fb41e3c4-5638-4a31-ac16-1792da400b46" providerId="AD" clId="Web-{617A278A-6038-CA41-8902-FE3070EA9A3A}" dt="2025-10-01T08:07:36.669" v="236" actId="1076"/>
          <ac:picMkLst>
            <pc:docMk/>
            <pc:sldMk cId="4024586435" sldId="293"/>
            <ac:picMk id="3" creationId="{63C0570C-E159-BB97-3461-20CB7348D500}"/>
          </ac:picMkLst>
        </pc:picChg>
      </pc:sldChg>
      <pc:sldChg chg="modSp">
        <pc:chgData name="Holzfeind, Katrin" userId="S::katrin.holzfeind@tuwien.ac.at::fb41e3c4-5638-4a31-ac16-1792da400b46" providerId="AD" clId="Web-{617A278A-6038-CA41-8902-FE3070EA9A3A}" dt="2025-10-01T07:55:18.334" v="82" actId="20577"/>
        <pc:sldMkLst>
          <pc:docMk/>
          <pc:sldMk cId="1024338273" sldId="298"/>
        </pc:sldMkLst>
        <pc:spChg chg="mod">
          <ac:chgData name="Holzfeind, Katrin" userId="S::katrin.holzfeind@tuwien.ac.at::fb41e3c4-5638-4a31-ac16-1792da400b46" providerId="AD" clId="Web-{617A278A-6038-CA41-8902-FE3070EA9A3A}" dt="2025-10-01T07:55:18.334" v="82" actId="20577"/>
          <ac:spMkLst>
            <pc:docMk/>
            <pc:sldMk cId="1024338273" sldId="298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617A278A-6038-CA41-8902-FE3070EA9A3A}" dt="2025-10-01T07:55:33.915" v="87" actId="20577"/>
        <pc:sldMkLst>
          <pc:docMk/>
          <pc:sldMk cId="192005214" sldId="299"/>
        </pc:sldMkLst>
        <pc:spChg chg="mod">
          <ac:chgData name="Holzfeind, Katrin" userId="S::katrin.holzfeind@tuwien.ac.at::fb41e3c4-5638-4a31-ac16-1792da400b46" providerId="AD" clId="Web-{617A278A-6038-CA41-8902-FE3070EA9A3A}" dt="2025-10-01T07:55:33.915" v="87" actId="20577"/>
          <ac:spMkLst>
            <pc:docMk/>
            <pc:sldMk cId="192005214" sldId="299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617A278A-6038-CA41-8902-FE3070EA9A3A}" dt="2025-10-01T07:55:40.885" v="89" actId="20577"/>
        <pc:sldMkLst>
          <pc:docMk/>
          <pc:sldMk cId="801097719" sldId="300"/>
        </pc:sldMkLst>
        <pc:spChg chg="mod">
          <ac:chgData name="Holzfeind, Katrin" userId="S::katrin.holzfeind@tuwien.ac.at::fb41e3c4-5638-4a31-ac16-1792da400b46" providerId="AD" clId="Web-{617A278A-6038-CA41-8902-FE3070EA9A3A}" dt="2025-10-01T07:55:40.885" v="89" actId="20577"/>
          <ac:spMkLst>
            <pc:docMk/>
            <pc:sldMk cId="801097719" sldId="300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617A278A-6038-CA41-8902-FE3070EA9A3A}" dt="2025-10-01T07:55:24.539" v="84" actId="20577"/>
        <pc:sldMkLst>
          <pc:docMk/>
          <pc:sldMk cId="1071120812" sldId="302"/>
        </pc:sldMkLst>
        <pc:spChg chg="mod">
          <ac:chgData name="Holzfeind, Katrin" userId="S::katrin.holzfeind@tuwien.ac.at::fb41e3c4-5638-4a31-ac16-1792da400b46" providerId="AD" clId="Web-{617A278A-6038-CA41-8902-FE3070EA9A3A}" dt="2025-10-01T07:55:24.539" v="84" actId="20577"/>
          <ac:spMkLst>
            <pc:docMk/>
            <pc:sldMk cId="1071120812" sldId="302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617A278A-6038-CA41-8902-FE3070EA9A3A}" dt="2025-10-01T08:08:19.889" v="241" actId="20577"/>
        <pc:sldMkLst>
          <pc:docMk/>
          <pc:sldMk cId="929336951" sldId="303"/>
        </pc:sldMkLst>
        <pc:spChg chg="mod">
          <ac:chgData name="Holzfeind, Katrin" userId="S::katrin.holzfeind@tuwien.ac.at::fb41e3c4-5638-4a31-ac16-1792da400b46" providerId="AD" clId="Web-{617A278A-6038-CA41-8902-FE3070EA9A3A}" dt="2025-10-01T08:08:19.889" v="241" actId="20577"/>
          <ac:spMkLst>
            <pc:docMk/>
            <pc:sldMk cId="929336951" sldId="303"/>
            <ac:spMk id="7" creationId="{00000000-0000-0000-0000-000000000000}"/>
          </ac:spMkLst>
        </pc:spChg>
      </pc:sldChg>
      <pc:sldChg chg="addSp modSp">
        <pc:chgData name="Holzfeind, Katrin" userId="S::katrin.holzfeind@tuwien.ac.at::fb41e3c4-5638-4a31-ac16-1792da400b46" providerId="AD" clId="Web-{617A278A-6038-CA41-8902-FE3070EA9A3A}" dt="2025-10-01T08:56:49.848" v="271" actId="20577"/>
        <pc:sldMkLst>
          <pc:docMk/>
          <pc:sldMk cId="3843316520" sldId="307"/>
        </pc:sldMkLst>
        <pc:spChg chg="add mod">
          <ac:chgData name="Holzfeind, Katrin" userId="S::katrin.holzfeind@tuwien.ac.at::fb41e3c4-5638-4a31-ac16-1792da400b46" providerId="AD" clId="Web-{617A278A-6038-CA41-8902-FE3070EA9A3A}" dt="2025-10-01T08:56:49.848" v="271" actId="20577"/>
          <ac:spMkLst>
            <pc:docMk/>
            <pc:sldMk cId="3843316520" sldId="307"/>
            <ac:spMk id="2" creationId="{76DCABAA-D9A7-0802-1EF1-67E0BF8E3EF2}"/>
          </ac:spMkLst>
        </pc:spChg>
      </pc:sldChg>
      <pc:sldChg chg="modSp">
        <pc:chgData name="Holzfeind, Katrin" userId="S::katrin.holzfeind@tuwien.ac.at::fb41e3c4-5638-4a31-ac16-1792da400b46" providerId="AD" clId="Web-{617A278A-6038-CA41-8902-FE3070EA9A3A}" dt="2025-10-01T08:08:46.061" v="242" actId="14100"/>
        <pc:sldMkLst>
          <pc:docMk/>
          <pc:sldMk cId="1315419881" sldId="323"/>
        </pc:sldMkLst>
        <pc:spChg chg="mod">
          <ac:chgData name="Holzfeind, Katrin" userId="S::katrin.holzfeind@tuwien.ac.at::fb41e3c4-5638-4a31-ac16-1792da400b46" providerId="AD" clId="Web-{617A278A-6038-CA41-8902-FE3070EA9A3A}" dt="2025-10-01T08:08:46.061" v="242" actId="14100"/>
          <ac:spMkLst>
            <pc:docMk/>
            <pc:sldMk cId="1315419881" sldId="323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617A278A-6038-CA41-8902-FE3070EA9A3A}" dt="2025-10-01T07:56:41.002" v="90" actId="20577"/>
        <pc:sldMkLst>
          <pc:docMk/>
          <pc:sldMk cId="3485241667" sldId="325"/>
        </pc:sldMkLst>
        <pc:spChg chg="mod">
          <ac:chgData name="Holzfeind, Katrin" userId="S::katrin.holzfeind@tuwien.ac.at::fb41e3c4-5638-4a31-ac16-1792da400b46" providerId="AD" clId="Web-{617A278A-6038-CA41-8902-FE3070EA9A3A}" dt="2025-10-01T07:56:41.002" v="90" actId="20577"/>
          <ac:spMkLst>
            <pc:docMk/>
            <pc:sldMk cId="3485241667" sldId="325"/>
            <ac:spMk id="7" creationId="{00000000-0000-0000-0000-000000000000}"/>
          </ac:spMkLst>
        </pc:spChg>
      </pc:sldChg>
    </pc:docChg>
  </pc:docChgLst>
  <pc:docChgLst>
    <pc:chgData name="Holzfeind, Katrin" userId="S::katrin.holzfeind@tuwien.ac.at::fb41e3c4-5638-4a31-ac16-1792da400b46" providerId="AD" clId="Web-{03567BB2-0386-D26B-82F4-0AF2DB4D84F9}"/>
    <pc:docChg chg="addSld delSld modSld sldOrd modSection">
      <pc:chgData name="Holzfeind, Katrin" userId="S::katrin.holzfeind@tuwien.ac.at::fb41e3c4-5638-4a31-ac16-1792da400b46" providerId="AD" clId="Web-{03567BB2-0386-D26B-82F4-0AF2DB4D84F9}" dt="2025-10-07T02:22:34.601" v="629" actId="14100"/>
      <pc:docMkLst>
        <pc:docMk/>
      </pc:docMkLst>
      <pc:sldChg chg="modSp">
        <pc:chgData name="Holzfeind, Katrin" userId="S::katrin.holzfeind@tuwien.ac.at::fb41e3c4-5638-4a31-ac16-1792da400b46" providerId="AD" clId="Web-{03567BB2-0386-D26B-82F4-0AF2DB4D84F9}" dt="2025-10-06T22:44:11.354" v="504" actId="20577"/>
        <pc:sldMkLst>
          <pc:docMk/>
          <pc:sldMk cId="4024586435" sldId="293"/>
        </pc:sldMkLst>
        <pc:spChg chg="mod">
          <ac:chgData name="Holzfeind, Katrin" userId="S::katrin.holzfeind@tuwien.ac.at::fb41e3c4-5638-4a31-ac16-1792da400b46" providerId="AD" clId="Web-{03567BB2-0386-D26B-82F4-0AF2DB4D84F9}" dt="2025-10-06T22:44:11.354" v="504" actId="20577"/>
          <ac:spMkLst>
            <pc:docMk/>
            <pc:sldMk cId="4024586435" sldId="293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03567BB2-0386-D26B-82F4-0AF2DB4D84F9}" dt="2025-10-06T22:49:17.379" v="523" actId="20577"/>
        <pc:sldMkLst>
          <pc:docMk/>
          <pc:sldMk cId="801097719" sldId="300"/>
        </pc:sldMkLst>
        <pc:spChg chg="mod">
          <ac:chgData name="Holzfeind, Katrin" userId="S::katrin.holzfeind@tuwien.ac.at::fb41e3c4-5638-4a31-ac16-1792da400b46" providerId="AD" clId="Web-{03567BB2-0386-D26B-82F4-0AF2DB4D84F9}" dt="2025-10-06T22:49:17.379" v="523" actId="20577"/>
          <ac:spMkLst>
            <pc:docMk/>
            <pc:sldMk cId="801097719" sldId="300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03567BB2-0386-D26B-82F4-0AF2DB4D84F9}" dt="2025-10-06T22:45:06.876" v="508" actId="20577"/>
        <pc:sldMkLst>
          <pc:docMk/>
          <pc:sldMk cId="881327793" sldId="304"/>
        </pc:sldMkLst>
        <pc:spChg chg="mod">
          <ac:chgData name="Holzfeind, Katrin" userId="S::katrin.holzfeind@tuwien.ac.at::fb41e3c4-5638-4a31-ac16-1792da400b46" providerId="AD" clId="Web-{03567BB2-0386-D26B-82F4-0AF2DB4D84F9}" dt="2025-10-06T22:45:06.876" v="508" actId="20577"/>
          <ac:spMkLst>
            <pc:docMk/>
            <pc:sldMk cId="881327793" sldId="304"/>
            <ac:spMk id="7" creationId="{00000000-0000-0000-0000-000000000000}"/>
          </ac:spMkLst>
        </pc:spChg>
      </pc:sldChg>
      <pc:sldChg chg="addSp delSp modSp">
        <pc:chgData name="Holzfeind, Katrin" userId="S::katrin.holzfeind@tuwien.ac.at::fb41e3c4-5638-4a31-ac16-1792da400b46" providerId="AD" clId="Web-{03567BB2-0386-D26B-82F4-0AF2DB4D84F9}" dt="2025-10-06T22:50:16.975" v="535" actId="1076"/>
        <pc:sldMkLst>
          <pc:docMk/>
          <pc:sldMk cId="2134127259" sldId="305"/>
        </pc:sldMkLst>
        <pc:spChg chg="del">
          <ac:chgData name="Holzfeind, Katrin" userId="S::katrin.holzfeind@tuwien.ac.at::fb41e3c4-5638-4a31-ac16-1792da400b46" providerId="AD" clId="Web-{03567BB2-0386-D26B-82F4-0AF2DB4D84F9}" dt="2025-10-06T22:30:19.116" v="300"/>
          <ac:spMkLst>
            <pc:docMk/>
            <pc:sldMk cId="2134127259" sldId="305"/>
            <ac:spMk id="2" creationId="{00000000-0000-0000-0000-000000000000}"/>
          </ac:spMkLst>
        </pc:spChg>
        <pc:spChg chg="mod">
          <ac:chgData name="Holzfeind, Katrin" userId="S::katrin.holzfeind@tuwien.ac.at::fb41e3c4-5638-4a31-ac16-1792da400b46" providerId="AD" clId="Web-{03567BB2-0386-D26B-82F4-0AF2DB4D84F9}" dt="2025-10-06T22:31:09.853" v="304" actId="20577"/>
          <ac:spMkLst>
            <pc:docMk/>
            <pc:sldMk cId="2134127259" sldId="305"/>
            <ac:spMk id="7" creationId="{00000000-0000-0000-0000-000000000000}"/>
          </ac:spMkLst>
        </pc:spChg>
        <pc:picChg chg="add del mod">
          <ac:chgData name="Holzfeind, Katrin" userId="S::katrin.holzfeind@tuwien.ac.at::fb41e3c4-5638-4a31-ac16-1792da400b46" providerId="AD" clId="Web-{03567BB2-0386-D26B-82F4-0AF2DB4D84F9}" dt="2025-10-06T22:32:09.872" v="306"/>
          <ac:picMkLst>
            <pc:docMk/>
            <pc:sldMk cId="2134127259" sldId="305"/>
            <ac:picMk id="3" creationId="{08D1195D-9E2F-9C91-CC5C-95C14BAA9FA9}"/>
          </ac:picMkLst>
        </pc:picChg>
        <pc:picChg chg="add del mod">
          <ac:chgData name="Holzfeind, Katrin" userId="S::katrin.holzfeind@tuwien.ac.at::fb41e3c4-5638-4a31-ac16-1792da400b46" providerId="AD" clId="Web-{03567BB2-0386-D26B-82F4-0AF2DB4D84F9}" dt="2025-10-06T22:32:38.733" v="309"/>
          <ac:picMkLst>
            <pc:docMk/>
            <pc:sldMk cId="2134127259" sldId="305"/>
            <ac:picMk id="5" creationId="{79DA9B55-0D45-C70B-82EE-7ED48AC4B6C5}"/>
          </ac:picMkLst>
        </pc:picChg>
        <pc:picChg chg="del">
          <ac:chgData name="Holzfeind, Katrin" userId="S::katrin.holzfeind@tuwien.ac.at::fb41e3c4-5638-4a31-ac16-1792da400b46" providerId="AD" clId="Web-{03567BB2-0386-D26B-82F4-0AF2DB4D84F9}" dt="2025-10-06T22:49:38.520" v="524"/>
          <ac:picMkLst>
            <pc:docMk/>
            <pc:sldMk cId="2134127259" sldId="305"/>
            <ac:picMk id="8" creationId="{00000000-0000-0000-0000-000000000000}"/>
          </ac:picMkLst>
        </pc:picChg>
        <pc:picChg chg="add del mod modCrop">
          <ac:chgData name="Holzfeind, Katrin" userId="S::katrin.holzfeind@tuwien.ac.at::fb41e3c4-5638-4a31-ac16-1792da400b46" providerId="AD" clId="Web-{03567BB2-0386-D26B-82F4-0AF2DB4D84F9}" dt="2025-10-06T22:33:16.865" v="316"/>
          <ac:picMkLst>
            <pc:docMk/>
            <pc:sldMk cId="2134127259" sldId="305"/>
            <ac:picMk id="9" creationId="{DC402A5D-4836-2C7D-D493-8D87F6BDCC38}"/>
          </ac:picMkLst>
        </pc:picChg>
        <pc:picChg chg="add del mod modCrop">
          <ac:chgData name="Holzfeind, Katrin" userId="S::katrin.holzfeind@tuwien.ac.at::fb41e3c4-5638-4a31-ac16-1792da400b46" providerId="AD" clId="Web-{03567BB2-0386-D26B-82F4-0AF2DB4D84F9}" dt="2025-10-06T22:34:01.648" v="324"/>
          <ac:picMkLst>
            <pc:docMk/>
            <pc:sldMk cId="2134127259" sldId="305"/>
            <ac:picMk id="11" creationId="{45B85D42-C060-F157-8440-5A8228407DEC}"/>
          </ac:picMkLst>
        </pc:picChg>
        <pc:picChg chg="add mod ord modCrop">
          <ac:chgData name="Holzfeind, Katrin" userId="S::katrin.holzfeind@tuwien.ac.at::fb41e3c4-5638-4a31-ac16-1792da400b46" providerId="AD" clId="Web-{03567BB2-0386-D26B-82F4-0AF2DB4D84F9}" dt="2025-10-06T22:36:50.185" v="348" actId="14100"/>
          <ac:picMkLst>
            <pc:docMk/>
            <pc:sldMk cId="2134127259" sldId="305"/>
            <ac:picMk id="12" creationId="{B1261AE4-72B7-EDA1-CA50-31C3D39A49B4}"/>
          </ac:picMkLst>
        </pc:picChg>
        <pc:picChg chg="add mod ord modCrop">
          <ac:chgData name="Holzfeind, Katrin" userId="S::katrin.holzfeind@tuwien.ac.at::fb41e3c4-5638-4a31-ac16-1792da400b46" providerId="AD" clId="Web-{03567BB2-0386-D26B-82F4-0AF2DB4D84F9}" dt="2025-10-06T22:37:27.952" v="354" actId="1076"/>
          <ac:picMkLst>
            <pc:docMk/>
            <pc:sldMk cId="2134127259" sldId="305"/>
            <ac:picMk id="13" creationId="{56D96A15-EB71-D37E-A89E-D6519CB8CAB4}"/>
          </ac:picMkLst>
        </pc:picChg>
        <pc:picChg chg="add mod modCrop">
          <ac:chgData name="Holzfeind, Katrin" userId="S::katrin.holzfeind@tuwien.ac.at::fb41e3c4-5638-4a31-ac16-1792da400b46" providerId="AD" clId="Web-{03567BB2-0386-D26B-82F4-0AF2DB4D84F9}" dt="2025-10-06T22:50:16.975" v="535" actId="1076"/>
          <ac:picMkLst>
            <pc:docMk/>
            <pc:sldMk cId="2134127259" sldId="305"/>
            <ac:picMk id="14" creationId="{BE02030C-89D1-E95E-32E5-92D4A498EDCC}"/>
          </ac:picMkLst>
        </pc:picChg>
      </pc:sldChg>
      <pc:sldChg chg="modSp">
        <pc:chgData name="Holzfeind, Katrin" userId="S::katrin.holzfeind@tuwien.ac.at::fb41e3c4-5638-4a31-ac16-1792da400b46" providerId="AD" clId="Web-{03567BB2-0386-D26B-82F4-0AF2DB4D84F9}" dt="2025-10-06T22:53:27.743" v="624" actId="20577"/>
        <pc:sldMkLst>
          <pc:docMk/>
          <pc:sldMk cId="3485241667" sldId="325"/>
        </pc:sldMkLst>
        <pc:spChg chg="mod">
          <ac:chgData name="Holzfeind, Katrin" userId="S::katrin.holzfeind@tuwien.ac.at::fb41e3c4-5638-4a31-ac16-1792da400b46" providerId="AD" clId="Web-{03567BB2-0386-D26B-82F4-0AF2DB4D84F9}" dt="2025-10-06T22:53:27.743" v="624" actId="20577"/>
          <ac:spMkLst>
            <pc:docMk/>
            <pc:sldMk cId="3485241667" sldId="325"/>
            <ac:spMk id="7" creationId="{00000000-0000-0000-0000-000000000000}"/>
          </ac:spMkLst>
        </pc:spChg>
      </pc:sldChg>
      <pc:sldChg chg="addSp delSp modSp add ord replId">
        <pc:chgData name="Holzfeind, Katrin" userId="S::katrin.holzfeind@tuwien.ac.at::fb41e3c4-5638-4a31-ac16-1792da400b46" providerId="AD" clId="Web-{03567BB2-0386-D26B-82F4-0AF2DB4D84F9}" dt="2025-10-06T22:42:08.819" v="502" actId="20577"/>
        <pc:sldMkLst>
          <pc:docMk/>
          <pc:sldMk cId="1605549442" sldId="329"/>
        </pc:sldMkLst>
        <pc:spChg chg="mod">
          <ac:chgData name="Holzfeind, Katrin" userId="S::katrin.holzfeind@tuwien.ac.at::fb41e3c4-5638-4a31-ac16-1792da400b46" providerId="AD" clId="Web-{03567BB2-0386-D26B-82F4-0AF2DB4D84F9}" dt="2025-10-06T22:11:42.764" v="12" actId="20577"/>
          <ac:spMkLst>
            <pc:docMk/>
            <pc:sldMk cId="1605549442" sldId="329"/>
            <ac:spMk id="6" creationId="{B5CBC30F-C932-0544-499D-9ACA33A4C442}"/>
          </ac:spMkLst>
        </pc:spChg>
        <pc:spChg chg="mod">
          <ac:chgData name="Holzfeind, Katrin" userId="S::katrin.holzfeind@tuwien.ac.at::fb41e3c4-5638-4a31-ac16-1792da400b46" providerId="AD" clId="Web-{03567BB2-0386-D26B-82F4-0AF2DB4D84F9}" dt="2025-10-06T22:42:08.819" v="502" actId="20577"/>
          <ac:spMkLst>
            <pc:docMk/>
            <pc:sldMk cId="1605549442" sldId="329"/>
            <ac:spMk id="7" creationId="{1B868DDE-D8A8-E180-7203-7A6D8BAAC76C}"/>
          </ac:spMkLst>
        </pc:spChg>
        <pc:spChg chg="add mod">
          <ac:chgData name="Holzfeind, Katrin" userId="S::katrin.holzfeind@tuwien.ac.at::fb41e3c4-5638-4a31-ac16-1792da400b46" providerId="AD" clId="Web-{03567BB2-0386-D26B-82F4-0AF2DB4D84F9}" dt="2025-10-06T22:16:00.047" v="37" actId="1076"/>
          <ac:spMkLst>
            <pc:docMk/>
            <pc:sldMk cId="1605549442" sldId="329"/>
            <ac:spMk id="11" creationId="{83CF7125-E745-F6E1-7DEA-781CC4DB5C3A}"/>
          </ac:spMkLst>
        </pc:spChg>
        <pc:grpChg chg="del">
          <ac:chgData name="Holzfeind, Katrin" userId="S::katrin.holzfeind@tuwien.ac.at::fb41e3c4-5638-4a31-ac16-1792da400b46" providerId="AD" clId="Web-{03567BB2-0386-D26B-82F4-0AF2DB4D84F9}" dt="2025-10-06T22:11:50.765" v="14"/>
          <ac:grpSpMkLst>
            <pc:docMk/>
            <pc:sldMk cId="1605549442" sldId="329"/>
            <ac:grpSpMk id="2" creationId="{1BBEF2AB-0C4F-0996-68D8-D9E61AF303D6}"/>
          </ac:grpSpMkLst>
        </pc:grpChg>
        <pc:picChg chg="add mod">
          <ac:chgData name="Holzfeind, Katrin" userId="S::katrin.holzfeind@tuwien.ac.at::fb41e3c4-5638-4a31-ac16-1792da400b46" providerId="AD" clId="Web-{03567BB2-0386-D26B-82F4-0AF2DB4D84F9}" dt="2025-10-06T22:16:07.813" v="38" actId="1076"/>
          <ac:picMkLst>
            <pc:docMk/>
            <pc:sldMk cId="1605549442" sldId="329"/>
            <ac:picMk id="4" creationId="{4AE3F9D3-BF39-EB4F-FDD8-FAEE071F9FD8}"/>
          </ac:picMkLst>
        </pc:picChg>
      </pc:sldChg>
      <pc:sldChg chg="new del">
        <pc:chgData name="Holzfeind, Katrin" userId="S::katrin.holzfeind@tuwien.ac.at::fb41e3c4-5638-4a31-ac16-1792da400b46" providerId="AD" clId="Web-{03567BB2-0386-D26B-82F4-0AF2DB4D84F9}" dt="2025-10-06T22:11:17.496" v="1"/>
        <pc:sldMkLst>
          <pc:docMk/>
          <pc:sldMk cId="3466862517" sldId="329"/>
        </pc:sldMkLst>
      </pc:sldChg>
      <pc:sldChg chg="add replId">
        <pc:chgData name="Holzfeind, Katrin" userId="S::katrin.holzfeind@tuwien.ac.at::fb41e3c4-5638-4a31-ac16-1792da400b46" providerId="AD" clId="Web-{03567BB2-0386-D26B-82F4-0AF2DB4D84F9}" dt="2025-10-06T22:41:59.178" v="501"/>
        <pc:sldMkLst>
          <pc:docMk/>
          <pc:sldMk cId="1051179698" sldId="330"/>
        </pc:sldMkLst>
      </pc:sldChg>
      <pc:sldChg chg="add del replId">
        <pc:chgData name="Holzfeind, Katrin" userId="S::katrin.holzfeind@tuwien.ac.at::fb41e3c4-5638-4a31-ac16-1792da400b46" providerId="AD" clId="Web-{03567BB2-0386-D26B-82F4-0AF2DB4D84F9}" dt="2025-10-06T22:41:56.225" v="500"/>
        <pc:sldMkLst>
          <pc:docMk/>
          <pc:sldMk cId="1556297273" sldId="330"/>
        </pc:sldMkLst>
      </pc:sldChg>
      <pc:sldChg chg="add replId">
        <pc:chgData name="Holzfeind, Katrin" userId="S::katrin.holzfeind@tuwien.ac.at::fb41e3c4-5638-4a31-ac16-1792da400b46" providerId="AD" clId="Web-{03567BB2-0386-D26B-82F4-0AF2DB4D84F9}" dt="2025-10-06T22:44:01.681" v="503"/>
        <pc:sldMkLst>
          <pc:docMk/>
          <pc:sldMk cId="3962418738" sldId="331"/>
        </pc:sldMkLst>
      </pc:sldChg>
      <pc:sldChg chg="addSp modSp add replId">
        <pc:chgData name="Holzfeind, Katrin" userId="S::katrin.holzfeind@tuwien.ac.at::fb41e3c4-5638-4a31-ac16-1792da400b46" providerId="AD" clId="Web-{03567BB2-0386-D26B-82F4-0AF2DB4D84F9}" dt="2025-10-07T02:22:34.601" v="629" actId="14100"/>
        <pc:sldMkLst>
          <pc:docMk/>
          <pc:sldMk cId="3761078094" sldId="332"/>
        </pc:sldMkLst>
        <pc:spChg chg="add mod">
          <ac:chgData name="Holzfeind, Katrin" userId="S::katrin.holzfeind@tuwien.ac.at::fb41e3c4-5638-4a31-ac16-1792da400b46" providerId="AD" clId="Web-{03567BB2-0386-D26B-82F4-0AF2DB4D84F9}" dt="2025-10-07T02:22:34.601" v="629" actId="14100"/>
          <ac:spMkLst>
            <pc:docMk/>
            <pc:sldMk cId="3761078094" sldId="332"/>
            <ac:spMk id="3" creationId="{4B690733-F9E2-C593-3A8B-AF913F251F1A}"/>
          </ac:spMkLst>
        </pc:spChg>
        <pc:spChg chg="mod">
          <ac:chgData name="Holzfeind, Katrin" userId="S::katrin.holzfeind@tuwien.ac.at::fb41e3c4-5638-4a31-ac16-1792da400b46" providerId="AD" clId="Web-{03567BB2-0386-D26B-82F4-0AF2DB4D84F9}" dt="2025-10-06T22:53:33.681" v="628" actId="20577"/>
          <ac:spMkLst>
            <pc:docMk/>
            <pc:sldMk cId="3761078094" sldId="332"/>
            <ac:spMk id="7" creationId="{1357BB38-FF76-9ADB-05F1-56C4ECD967FF}"/>
          </ac:spMkLst>
        </pc:spChg>
      </pc:sldChg>
    </pc:docChg>
  </pc:docChgLst>
  <pc:docChgLst>
    <pc:chgData name="Holzfeind, Katrin" userId="S::katrin.holzfeind@tuwien.ac.at::fb41e3c4-5638-4a31-ac16-1792da400b46" providerId="AD" clId="Web-{714B09B2-6031-8601-8DB5-C6A06BC0A0E0}"/>
    <pc:docChg chg="modSld">
      <pc:chgData name="Holzfeind, Katrin" userId="S::katrin.holzfeind@tuwien.ac.at::fb41e3c4-5638-4a31-ac16-1792da400b46" providerId="AD" clId="Web-{714B09B2-6031-8601-8DB5-C6A06BC0A0E0}" dt="2025-09-29T13:31:16.676" v="2" actId="20577"/>
      <pc:docMkLst>
        <pc:docMk/>
      </pc:docMkLst>
      <pc:sldChg chg="modSp">
        <pc:chgData name="Holzfeind, Katrin" userId="S::katrin.holzfeind@tuwien.ac.at::fb41e3c4-5638-4a31-ac16-1792da400b46" providerId="AD" clId="Web-{714B09B2-6031-8601-8DB5-C6A06BC0A0E0}" dt="2025-09-29T13:31:16.676" v="2" actId="20577"/>
        <pc:sldMkLst>
          <pc:docMk/>
          <pc:sldMk cId="1315419881" sldId="323"/>
        </pc:sldMkLst>
        <pc:spChg chg="mod">
          <ac:chgData name="Holzfeind, Katrin" userId="S::katrin.holzfeind@tuwien.ac.at::fb41e3c4-5638-4a31-ac16-1792da400b46" providerId="AD" clId="Web-{714B09B2-6031-8601-8DB5-C6A06BC0A0E0}" dt="2025-09-29T13:31:16.676" v="2" actId="20577"/>
          <ac:spMkLst>
            <pc:docMk/>
            <pc:sldMk cId="1315419881" sldId="323"/>
            <ac:spMk id="7" creationId="{00000000-0000-0000-0000-000000000000}"/>
          </ac:spMkLst>
        </pc:spChg>
      </pc:sldChg>
    </pc:docChg>
  </pc:docChgLst>
  <pc:docChgLst>
    <pc:chgData name="Holzfeind, Katrin" userId="S::katrin.holzfeind@tuwien.ac.at::fb41e3c4-5638-4a31-ac16-1792da400b46" providerId="AD" clId="Web-{AF48F7E9-6224-7B0A-214F-1121F27C0D89}"/>
    <pc:docChg chg="modSld sldOrd">
      <pc:chgData name="Holzfeind, Katrin" userId="S::katrin.holzfeind@tuwien.ac.at::fb41e3c4-5638-4a31-ac16-1792da400b46" providerId="AD" clId="Web-{AF48F7E9-6224-7B0A-214F-1121F27C0D89}" dt="2025-10-02T08:18:39.716" v="126" actId="14100"/>
      <pc:docMkLst>
        <pc:docMk/>
      </pc:docMkLst>
      <pc:sldChg chg="modSp">
        <pc:chgData name="Holzfeind, Katrin" userId="S::katrin.holzfeind@tuwien.ac.at::fb41e3c4-5638-4a31-ac16-1792da400b46" providerId="AD" clId="Web-{AF48F7E9-6224-7B0A-214F-1121F27C0D89}" dt="2025-10-02T08:17:20.933" v="122" actId="20577"/>
        <pc:sldMkLst>
          <pc:docMk/>
          <pc:sldMk cId="4024586435" sldId="293"/>
        </pc:sldMkLst>
        <pc:spChg chg="mod">
          <ac:chgData name="Holzfeind, Katrin" userId="S::katrin.holzfeind@tuwien.ac.at::fb41e3c4-5638-4a31-ac16-1792da400b46" providerId="AD" clId="Web-{AF48F7E9-6224-7B0A-214F-1121F27C0D89}" dt="2025-10-02T08:17:20.933" v="122" actId="20577"/>
          <ac:spMkLst>
            <pc:docMk/>
            <pc:sldMk cId="4024586435" sldId="293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AF48F7E9-6224-7B0A-214F-1121F27C0D89}" dt="2025-10-02T08:14:49.632" v="89"/>
        <pc:sldMkLst>
          <pc:docMk/>
          <pc:sldMk cId="3843316520" sldId="307"/>
        </pc:sldMkLst>
        <pc:picChg chg="mod">
          <ac:chgData name="Holzfeind, Katrin" userId="S::katrin.holzfeind@tuwien.ac.at::fb41e3c4-5638-4a31-ac16-1792da400b46" providerId="AD" clId="Web-{AF48F7E9-6224-7B0A-214F-1121F27C0D89}" dt="2025-10-02T08:14:49.632" v="89"/>
          <ac:picMkLst>
            <pc:docMk/>
            <pc:sldMk cId="3843316520" sldId="307"/>
            <ac:picMk id="8" creationId="{00000000-0000-0000-0000-000000000000}"/>
          </ac:picMkLst>
        </pc:picChg>
      </pc:sldChg>
      <pc:sldChg chg="addSp modSp">
        <pc:chgData name="Holzfeind, Katrin" userId="S::katrin.holzfeind@tuwien.ac.at::fb41e3c4-5638-4a31-ac16-1792da400b46" providerId="AD" clId="Web-{AF48F7E9-6224-7B0A-214F-1121F27C0D89}" dt="2025-10-02T08:15:43.259" v="102"/>
        <pc:sldMkLst>
          <pc:docMk/>
          <pc:sldMk cId="2886040691" sldId="308"/>
        </pc:sldMkLst>
        <pc:spChg chg="add">
          <ac:chgData name="Holzfeind, Katrin" userId="S::katrin.holzfeind@tuwien.ac.at::fb41e3c4-5638-4a31-ac16-1792da400b46" providerId="AD" clId="Web-{AF48F7E9-6224-7B0A-214F-1121F27C0D89}" dt="2025-10-02T08:15:43.259" v="102"/>
          <ac:spMkLst>
            <pc:docMk/>
            <pc:sldMk cId="2886040691" sldId="308"/>
            <ac:spMk id="4" creationId="{26E56022-2BD5-D4B2-84F1-0C10C2FCDE80}"/>
          </ac:spMkLst>
        </pc:spChg>
        <pc:picChg chg="mod">
          <ac:chgData name="Holzfeind, Katrin" userId="S::katrin.holzfeind@tuwien.ac.at::fb41e3c4-5638-4a31-ac16-1792da400b46" providerId="AD" clId="Web-{AF48F7E9-6224-7B0A-214F-1121F27C0D89}" dt="2025-10-02T08:14:39.210" v="88"/>
          <ac:picMkLst>
            <pc:docMk/>
            <pc:sldMk cId="2886040691" sldId="308"/>
            <ac:picMk id="8" creationId="{00000000-0000-0000-0000-000000000000}"/>
          </ac:picMkLst>
        </pc:picChg>
      </pc:sldChg>
      <pc:sldChg chg="addSp modSp">
        <pc:chgData name="Holzfeind, Katrin" userId="S::katrin.holzfeind@tuwien.ac.at::fb41e3c4-5638-4a31-ac16-1792da400b46" providerId="AD" clId="Web-{AF48F7E9-6224-7B0A-214F-1121F27C0D89}" dt="2025-10-02T08:15:44.696" v="103"/>
        <pc:sldMkLst>
          <pc:docMk/>
          <pc:sldMk cId="1154646993" sldId="309"/>
        </pc:sldMkLst>
        <pc:spChg chg="add">
          <ac:chgData name="Holzfeind, Katrin" userId="S::katrin.holzfeind@tuwien.ac.at::fb41e3c4-5638-4a31-ac16-1792da400b46" providerId="AD" clId="Web-{AF48F7E9-6224-7B0A-214F-1121F27C0D89}" dt="2025-10-02T08:15:44.696" v="103"/>
          <ac:spMkLst>
            <pc:docMk/>
            <pc:sldMk cId="1154646993" sldId="309"/>
            <ac:spMk id="4" creationId="{38986FD7-CD65-63F0-D4B2-429E20D377BF}"/>
          </ac:spMkLst>
        </pc:spChg>
        <pc:picChg chg="mod">
          <ac:chgData name="Holzfeind, Katrin" userId="S::katrin.holzfeind@tuwien.ac.at::fb41e3c4-5638-4a31-ac16-1792da400b46" providerId="AD" clId="Web-{AF48F7E9-6224-7B0A-214F-1121F27C0D89}" dt="2025-10-02T08:14:28.475" v="87"/>
          <ac:picMkLst>
            <pc:docMk/>
            <pc:sldMk cId="1154646993" sldId="309"/>
            <ac:picMk id="8" creationId="{00000000-0000-0000-0000-000000000000}"/>
          </ac:picMkLst>
        </pc:picChg>
      </pc:sldChg>
      <pc:sldChg chg="addSp delSp modSp">
        <pc:chgData name="Holzfeind, Katrin" userId="S::katrin.holzfeind@tuwien.ac.at::fb41e3c4-5638-4a31-ac16-1792da400b46" providerId="AD" clId="Web-{AF48F7E9-6224-7B0A-214F-1121F27C0D89}" dt="2025-10-02T08:15:46.962" v="104"/>
        <pc:sldMkLst>
          <pc:docMk/>
          <pc:sldMk cId="1391650604" sldId="310"/>
        </pc:sldMkLst>
        <pc:spChg chg="add">
          <ac:chgData name="Holzfeind, Katrin" userId="S::katrin.holzfeind@tuwien.ac.at::fb41e3c4-5638-4a31-ac16-1792da400b46" providerId="AD" clId="Web-{AF48F7E9-6224-7B0A-214F-1121F27C0D89}" dt="2025-10-02T08:15:14.242" v="96"/>
          <ac:spMkLst>
            <pc:docMk/>
            <pc:sldMk cId="1391650604" sldId="310"/>
            <ac:spMk id="15" creationId="{9D0EBE96-C23C-4E10-8E99-2A80624B4F12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5:14.321" v="97"/>
          <ac:spMkLst>
            <pc:docMk/>
            <pc:sldMk cId="1391650604" sldId="310"/>
            <ac:spMk id="20" creationId="{2B388990-9881-A202-A188-22DDD318B28F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5:14.352" v="98"/>
          <ac:spMkLst>
            <pc:docMk/>
            <pc:sldMk cId="1391650604" sldId="310"/>
            <ac:spMk id="22" creationId="{B0D5D10E-1715-36D9-888F-68DBDA7D8CEF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5:14.414" v="99"/>
          <ac:spMkLst>
            <pc:docMk/>
            <pc:sldMk cId="1391650604" sldId="310"/>
            <ac:spMk id="24" creationId="{F8804C2C-BA93-14A7-28E0-406B5EA3127F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5:14.430" v="100"/>
          <ac:spMkLst>
            <pc:docMk/>
            <pc:sldMk cId="1391650604" sldId="310"/>
            <ac:spMk id="26" creationId="{5E78ECBA-4AD7-76F2-58A5-01496AC0BD2C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5:14.461" v="101"/>
          <ac:spMkLst>
            <pc:docMk/>
            <pc:sldMk cId="1391650604" sldId="310"/>
            <ac:spMk id="28" creationId="{E875656A-15B0-63E2-5568-34431A37E329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5:46.962" v="104"/>
          <ac:spMkLst>
            <pc:docMk/>
            <pc:sldMk cId="1391650604" sldId="310"/>
            <ac:spMk id="30" creationId="{1C422975-A58B-8456-C07C-C68E873DCED1}"/>
          </ac:spMkLst>
        </pc:spChg>
        <pc:picChg chg="mod">
          <ac:chgData name="Holzfeind, Katrin" userId="S::katrin.holzfeind@tuwien.ac.at::fb41e3c4-5638-4a31-ac16-1792da400b46" providerId="AD" clId="Web-{AF48F7E9-6224-7B0A-214F-1121F27C0D89}" dt="2025-10-02T08:14:04.256" v="86"/>
          <ac:picMkLst>
            <pc:docMk/>
            <pc:sldMk cId="1391650604" sldId="310"/>
            <ac:picMk id="8" creationId="{00000000-0000-0000-0000-000000000000}"/>
          </ac:picMkLst>
        </pc:picChg>
      </pc:sldChg>
      <pc:sldChg chg="addSp delSp modSp">
        <pc:chgData name="Holzfeind, Katrin" userId="S::katrin.holzfeind@tuwien.ac.at::fb41e3c4-5638-4a31-ac16-1792da400b46" providerId="AD" clId="Web-{AF48F7E9-6224-7B0A-214F-1121F27C0D89}" dt="2025-10-02T08:15:49.025" v="105"/>
        <pc:sldMkLst>
          <pc:docMk/>
          <pc:sldMk cId="2313702547" sldId="311"/>
        </pc:sldMkLst>
        <pc:spChg chg="add">
          <ac:chgData name="Holzfeind, Katrin" userId="S::katrin.holzfeind@tuwien.ac.at::fb41e3c4-5638-4a31-ac16-1792da400b46" providerId="AD" clId="Web-{AF48F7E9-6224-7B0A-214F-1121F27C0D89}" dt="2025-10-02T08:15:09.930" v="90"/>
          <ac:spMkLst>
            <pc:docMk/>
            <pc:sldMk cId="2313702547" sldId="311"/>
            <ac:spMk id="5" creationId="{D09E0C53-2B61-A502-46BF-01B27B9D5037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5:09.945" v="91"/>
          <ac:spMkLst>
            <pc:docMk/>
            <pc:sldMk cId="2313702547" sldId="311"/>
            <ac:spMk id="11" creationId="{A0986C45-FD87-EF60-7925-90B342E0BB85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5:09.992" v="92"/>
          <ac:spMkLst>
            <pc:docMk/>
            <pc:sldMk cId="2313702547" sldId="311"/>
            <ac:spMk id="15" creationId="{45D9F978-38D4-DB05-000E-B1D973DD5FC4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5:10.008" v="93"/>
          <ac:spMkLst>
            <pc:docMk/>
            <pc:sldMk cId="2313702547" sldId="311"/>
            <ac:spMk id="19" creationId="{1C3EE17D-C487-B72B-EC4F-50E4F5D138EF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5:10.024" v="94"/>
          <ac:spMkLst>
            <pc:docMk/>
            <pc:sldMk cId="2313702547" sldId="311"/>
            <ac:spMk id="23" creationId="{CA413123-4084-70C3-C18B-D217EC5A5A12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5:10.055" v="95"/>
          <ac:spMkLst>
            <pc:docMk/>
            <pc:sldMk cId="2313702547" sldId="311"/>
            <ac:spMk id="27" creationId="{37B08954-56F3-E829-3FC3-68948BA42F74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5:49.025" v="105"/>
          <ac:spMkLst>
            <pc:docMk/>
            <pc:sldMk cId="2313702547" sldId="311"/>
            <ac:spMk id="30" creationId="{3863A628-954F-F8F7-8362-45C02978FAFA}"/>
          </ac:spMkLst>
        </pc:spChg>
        <pc:picChg chg="mod">
          <ac:chgData name="Holzfeind, Katrin" userId="S::katrin.holzfeind@tuwien.ac.at::fb41e3c4-5638-4a31-ac16-1792da400b46" providerId="AD" clId="Web-{AF48F7E9-6224-7B0A-214F-1121F27C0D89}" dt="2025-10-02T08:13:39.708" v="79"/>
          <ac:picMkLst>
            <pc:docMk/>
            <pc:sldMk cId="2313702547" sldId="311"/>
            <ac:picMk id="8" creationId="{00000000-0000-0000-0000-000000000000}"/>
          </ac:picMkLst>
        </pc:picChg>
      </pc:sldChg>
      <pc:sldChg chg="addSp modSp">
        <pc:chgData name="Holzfeind, Katrin" userId="S::katrin.holzfeind@tuwien.ac.at::fb41e3c4-5638-4a31-ac16-1792da400b46" providerId="AD" clId="Web-{AF48F7E9-6224-7B0A-214F-1121F27C0D89}" dt="2025-10-02T08:15:50.979" v="106"/>
        <pc:sldMkLst>
          <pc:docMk/>
          <pc:sldMk cId="1720362312" sldId="312"/>
        </pc:sldMkLst>
        <pc:spChg chg="mod">
          <ac:chgData name="Holzfeind, Katrin" userId="S::katrin.holzfeind@tuwien.ac.at::fb41e3c4-5638-4a31-ac16-1792da400b46" providerId="AD" clId="Web-{AF48F7E9-6224-7B0A-214F-1121F27C0D89}" dt="2025-10-02T08:13:05.050" v="68" actId="1076"/>
          <ac:spMkLst>
            <pc:docMk/>
            <pc:sldMk cId="1720362312" sldId="312"/>
            <ac:spMk id="4" creationId="{DC7F1E24-77FC-CC36-84AC-51292FB3F5CC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5:50.979" v="106"/>
          <ac:spMkLst>
            <pc:docMk/>
            <pc:sldMk cId="1720362312" sldId="312"/>
            <ac:spMk id="5" creationId="{08CC0D74-19A7-0687-FF1C-DB788D5561C6}"/>
          </ac:spMkLst>
        </pc:spChg>
        <pc:spChg chg="mod">
          <ac:chgData name="Holzfeind, Katrin" userId="S::katrin.holzfeind@tuwien.ac.at::fb41e3c4-5638-4a31-ac16-1792da400b46" providerId="AD" clId="Web-{AF48F7E9-6224-7B0A-214F-1121F27C0D89}" dt="2025-10-02T08:13:06.894" v="69" actId="1076"/>
          <ac:spMkLst>
            <pc:docMk/>
            <pc:sldMk cId="1720362312" sldId="312"/>
            <ac:spMk id="9" creationId="{32B7F5FD-ABAD-B864-4395-A57CDAF0BC10}"/>
          </ac:spMkLst>
        </pc:spChg>
        <pc:spChg chg="mod">
          <ac:chgData name="Holzfeind, Katrin" userId="S::katrin.holzfeind@tuwien.ac.at::fb41e3c4-5638-4a31-ac16-1792da400b46" providerId="AD" clId="Web-{AF48F7E9-6224-7B0A-214F-1121F27C0D89}" dt="2025-10-02T08:13:11.504" v="71" actId="1076"/>
          <ac:spMkLst>
            <pc:docMk/>
            <pc:sldMk cId="1720362312" sldId="312"/>
            <ac:spMk id="12" creationId="{4B313EF8-9036-F261-6F37-4C614236D37D}"/>
          </ac:spMkLst>
        </pc:spChg>
        <pc:spChg chg="mod">
          <ac:chgData name="Holzfeind, Katrin" userId="S::katrin.holzfeind@tuwien.ac.at::fb41e3c4-5638-4a31-ac16-1792da400b46" providerId="AD" clId="Web-{AF48F7E9-6224-7B0A-214F-1121F27C0D89}" dt="2025-10-02T08:13:02.863" v="67" actId="1076"/>
          <ac:spMkLst>
            <pc:docMk/>
            <pc:sldMk cId="1720362312" sldId="312"/>
            <ac:spMk id="18" creationId="{499D6BCA-2EE0-8589-935E-61E7BC1A6658}"/>
          </ac:spMkLst>
        </pc:spChg>
        <pc:spChg chg="mod">
          <ac:chgData name="Holzfeind, Katrin" userId="S::katrin.holzfeind@tuwien.ac.at::fb41e3c4-5638-4a31-ac16-1792da400b46" providerId="AD" clId="Web-{AF48F7E9-6224-7B0A-214F-1121F27C0D89}" dt="2025-10-02T08:13:14.082" v="72" actId="1076"/>
          <ac:spMkLst>
            <pc:docMk/>
            <pc:sldMk cId="1720362312" sldId="312"/>
            <ac:spMk id="20" creationId="{F7FFBCD4-9ED3-FE92-3AF9-9A5BF13874DE}"/>
          </ac:spMkLst>
        </pc:spChg>
        <pc:spChg chg="mod">
          <ac:chgData name="Holzfeind, Katrin" userId="S::katrin.holzfeind@tuwien.ac.at::fb41e3c4-5638-4a31-ac16-1792da400b46" providerId="AD" clId="Web-{AF48F7E9-6224-7B0A-214F-1121F27C0D89}" dt="2025-10-02T08:13:08.988" v="70" actId="1076"/>
          <ac:spMkLst>
            <pc:docMk/>
            <pc:sldMk cId="1720362312" sldId="312"/>
            <ac:spMk id="21" creationId="{E1932C80-D88A-B687-8E30-082852A6BF70}"/>
          </ac:spMkLst>
        </pc:spChg>
        <pc:picChg chg="mod">
          <ac:chgData name="Holzfeind, Katrin" userId="S::katrin.holzfeind@tuwien.ac.at::fb41e3c4-5638-4a31-ac16-1792da400b46" providerId="AD" clId="Web-{AF48F7E9-6224-7B0A-214F-1121F27C0D89}" dt="2025-10-02T08:12:57.878" v="66"/>
          <ac:picMkLst>
            <pc:docMk/>
            <pc:sldMk cId="1720362312" sldId="312"/>
            <ac:picMk id="8" creationId="{00000000-0000-0000-0000-000000000000}"/>
          </ac:picMkLst>
        </pc:picChg>
      </pc:sldChg>
      <pc:sldChg chg="addSp delSp modSp">
        <pc:chgData name="Holzfeind, Katrin" userId="S::katrin.holzfeind@tuwien.ac.at::fb41e3c4-5638-4a31-ac16-1792da400b46" providerId="AD" clId="Web-{AF48F7E9-6224-7B0A-214F-1121F27C0D89}" dt="2025-10-02T08:15:53.056" v="107"/>
        <pc:sldMkLst>
          <pc:docMk/>
          <pc:sldMk cId="2643910187" sldId="313"/>
        </pc:sldMkLst>
        <pc:spChg chg="add">
          <ac:chgData name="Holzfeind, Katrin" userId="S::katrin.holzfeind@tuwien.ac.at::fb41e3c4-5638-4a31-ac16-1792da400b46" providerId="AD" clId="Web-{AF48F7E9-6224-7B0A-214F-1121F27C0D89}" dt="2025-10-02T08:12:20.954" v="60"/>
          <ac:spMkLst>
            <pc:docMk/>
            <pc:sldMk cId="2643910187" sldId="313"/>
            <ac:spMk id="5" creationId="{B1B42BB9-4B57-7743-FFBB-A7B23CF9BDBC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2:33.440" v="63"/>
          <ac:spMkLst>
            <pc:docMk/>
            <pc:sldMk cId="2643910187" sldId="313"/>
            <ac:spMk id="13" creationId="{7C51E0A9-8612-7BFD-1A53-4E434763787E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2:37.533" v="64"/>
          <ac:spMkLst>
            <pc:docMk/>
            <pc:sldMk cId="2643910187" sldId="313"/>
            <ac:spMk id="17" creationId="{B1C764C5-35A0-D66C-C99E-4D784441A323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2:42.502" v="65"/>
          <ac:spMkLst>
            <pc:docMk/>
            <pc:sldMk cId="2643910187" sldId="313"/>
            <ac:spMk id="21" creationId="{6EDD45FD-DCE0-CB44-AB1A-469E533BEEA0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5:53.056" v="107"/>
          <ac:spMkLst>
            <pc:docMk/>
            <pc:sldMk cId="2643910187" sldId="313"/>
            <ac:spMk id="24" creationId="{467AAF6E-FE95-15B0-5462-CDC216562307}"/>
          </ac:spMkLst>
        </pc:spChg>
        <pc:picChg chg="mod">
          <ac:chgData name="Holzfeind, Katrin" userId="S::katrin.holzfeind@tuwien.ac.at::fb41e3c4-5638-4a31-ac16-1792da400b46" providerId="AD" clId="Web-{AF48F7E9-6224-7B0A-214F-1121F27C0D89}" dt="2025-10-02T08:12:01.610" v="52"/>
          <ac:picMkLst>
            <pc:docMk/>
            <pc:sldMk cId="2643910187" sldId="313"/>
            <ac:picMk id="8" creationId="{00000000-0000-0000-0000-000000000000}"/>
          </ac:picMkLst>
        </pc:picChg>
      </pc:sldChg>
      <pc:sldChg chg="addSp delSp modSp">
        <pc:chgData name="Holzfeind, Katrin" userId="S::katrin.holzfeind@tuwien.ac.at::fb41e3c4-5638-4a31-ac16-1792da400b46" providerId="AD" clId="Web-{AF48F7E9-6224-7B0A-214F-1121F27C0D89}" dt="2025-10-02T08:15:54.603" v="108"/>
        <pc:sldMkLst>
          <pc:docMk/>
          <pc:sldMk cId="1622992584" sldId="314"/>
        </pc:sldMkLst>
        <pc:spChg chg="mod">
          <ac:chgData name="Holzfeind, Katrin" userId="S::katrin.holzfeind@tuwien.ac.at::fb41e3c4-5638-4a31-ac16-1792da400b46" providerId="AD" clId="Web-{AF48F7E9-6224-7B0A-214F-1121F27C0D89}" dt="2025-10-02T08:12:11.970" v="57" actId="1076"/>
          <ac:spMkLst>
            <pc:docMk/>
            <pc:sldMk cId="1622992584" sldId="314"/>
            <ac:spMk id="4" creationId="{7C121F19-EB76-031B-2773-C207B89F8E65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0:27.776" v="32"/>
          <ac:spMkLst>
            <pc:docMk/>
            <pc:sldMk cId="1622992584" sldId="314"/>
            <ac:spMk id="5" creationId="{ECCBE9F3-28BF-24FE-E656-8CBE7A0DBC49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0:34.261" v="34"/>
          <ac:spMkLst>
            <pc:docMk/>
            <pc:sldMk cId="1622992584" sldId="314"/>
            <ac:spMk id="13" creationId="{ABF5B53E-080D-AB76-F0C4-95CB061207B8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0:42.949" v="38"/>
          <ac:spMkLst>
            <pc:docMk/>
            <pc:sldMk cId="1622992584" sldId="314"/>
            <ac:spMk id="19" creationId="{A04562DB-4C51-F77A-6AD6-FA31DCD88E95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5:54.603" v="108"/>
          <ac:spMkLst>
            <pc:docMk/>
            <pc:sldMk cId="1622992584" sldId="314"/>
            <ac:spMk id="23" creationId="{04C7A9E1-545E-4AB4-7FB9-8CB83C7E9BE4}"/>
          </ac:spMkLst>
        </pc:spChg>
        <pc:picChg chg="mod">
          <ac:chgData name="Holzfeind, Katrin" userId="S::katrin.holzfeind@tuwien.ac.at::fb41e3c4-5638-4a31-ac16-1792da400b46" providerId="AD" clId="Web-{AF48F7E9-6224-7B0A-214F-1121F27C0D89}" dt="2025-10-02T08:10:05.290" v="25"/>
          <ac:picMkLst>
            <pc:docMk/>
            <pc:sldMk cId="1622992584" sldId="314"/>
            <ac:picMk id="8" creationId="{00000000-0000-0000-0000-000000000000}"/>
          </ac:picMkLst>
        </pc:picChg>
      </pc:sldChg>
      <pc:sldChg chg="addSp delSp modSp ord">
        <pc:chgData name="Holzfeind, Katrin" userId="S::katrin.holzfeind@tuwien.ac.at::fb41e3c4-5638-4a31-ac16-1792da400b46" providerId="AD" clId="Web-{AF48F7E9-6224-7B0A-214F-1121F27C0D89}" dt="2025-10-02T08:15:56.384" v="109"/>
        <pc:sldMkLst>
          <pc:docMk/>
          <pc:sldMk cId="4124225697" sldId="315"/>
        </pc:sldMkLst>
        <pc:spChg chg="add">
          <ac:chgData name="Holzfeind, Katrin" userId="S::katrin.holzfeind@tuwien.ac.at::fb41e3c4-5638-4a31-ac16-1792da400b46" providerId="AD" clId="Web-{AF48F7E9-6224-7B0A-214F-1121F27C0D89}" dt="2025-10-02T08:12:19.361" v="59"/>
          <ac:spMkLst>
            <pc:docMk/>
            <pc:sldMk cId="4124225697" sldId="315"/>
            <ac:spMk id="5" creationId="{057539AA-2F6D-3F05-4B99-2E7E3C0570CA}"/>
          </ac:spMkLst>
        </pc:spChg>
        <pc:spChg chg="mod">
          <ac:chgData name="Holzfeind, Katrin" userId="S::katrin.holzfeind@tuwien.ac.at::fb41e3c4-5638-4a31-ac16-1792da400b46" providerId="AD" clId="Web-{AF48F7E9-6224-7B0A-214F-1121F27C0D89}" dt="2025-10-02T08:09:48.133" v="21" actId="1076"/>
          <ac:spMkLst>
            <pc:docMk/>
            <pc:sldMk cId="4124225697" sldId="315"/>
            <ac:spMk id="9" creationId="{96779E81-95FB-C722-B46B-880F824A356D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2:26.752" v="62"/>
          <ac:spMkLst>
            <pc:docMk/>
            <pc:sldMk cId="4124225697" sldId="315"/>
            <ac:spMk id="13" creationId="{086A58B8-9D56-FB0E-8E61-50AEC5E12E9A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5:56.384" v="109"/>
          <ac:spMkLst>
            <pc:docMk/>
            <pc:sldMk cId="4124225697" sldId="315"/>
            <ac:spMk id="17" creationId="{522C73AB-85E7-BB87-93E4-8BBD284F6907}"/>
          </ac:spMkLst>
        </pc:spChg>
        <pc:spChg chg="mod">
          <ac:chgData name="Holzfeind, Katrin" userId="S::katrin.holzfeind@tuwien.ac.at::fb41e3c4-5638-4a31-ac16-1792da400b46" providerId="AD" clId="Web-{AF48F7E9-6224-7B0A-214F-1121F27C0D89}" dt="2025-10-02T08:09:50.008" v="22" actId="1076"/>
          <ac:spMkLst>
            <pc:docMk/>
            <pc:sldMk cId="4124225697" sldId="315"/>
            <ac:spMk id="24" creationId="{27DB8018-280B-1313-6B71-4AA4550BF59D}"/>
          </ac:spMkLst>
        </pc:spChg>
        <pc:picChg chg="mod">
          <ac:chgData name="Holzfeind, Katrin" userId="S::katrin.holzfeind@tuwien.ac.at::fb41e3c4-5638-4a31-ac16-1792da400b46" providerId="AD" clId="Web-{AF48F7E9-6224-7B0A-214F-1121F27C0D89}" dt="2025-10-02T08:09:43.960" v="19"/>
          <ac:picMkLst>
            <pc:docMk/>
            <pc:sldMk cId="4124225697" sldId="315"/>
            <ac:picMk id="8" creationId="{00000000-0000-0000-0000-000000000000}"/>
          </ac:picMkLst>
        </pc:picChg>
      </pc:sldChg>
      <pc:sldChg chg="addSp delSp modSp">
        <pc:chgData name="Holzfeind, Katrin" userId="S::katrin.holzfeind@tuwien.ac.at::fb41e3c4-5638-4a31-ac16-1792da400b46" providerId="AD" clId="Web-{AF48F7E9-6224-7B0A-214F-1121F27C0D89}" dt="2025-10-02T08:16:04.135" v="111" actId="1076"/>
        <pc:sldMkLst>
          <pc:docMk/>
          <pc:sldMk cId="395657412" sldId="316"/>
        </pc:sldMkLst>
        <pc:spChg chg="add">
          <ac:chgData name="Holzfeind, Katrin" userId="S::katrin.holzfeind@tuwien.ac.at::fb41e3c4-5638-4a31-ac16-1792da400b46" providerId="AD" clId="Web-{AF48F7E9-6224-7B0A-214F-1121F27C0D89}" dt="2025-10-02T08:11:09.435" v="45"/>
          <ac:spMkLst>
            <pc:docMk/>
            <pc:sldMk cId="395657412" sldId="316"/>
            <ac:spMk id="5" creationId="{12F26DD7-5B16-DA08-F707-2546A03786A8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1:18.732" v="48"/>
          <ac:spMkLst>
            <pc:docMk/>
            <pc:sldMk cId="395657412" sldId="316"/>
            <ac:spMk id="13" creationId="{4362F418-951C-A964-BA16-FA7DE8E417FE}"/>
          </ac:spMkLst>
        </pc:spChg>
        <pc:spChg chg="add mod">
          <ac:chgData name="Holzfeind, Katrin" userId="S::katrin.holzfeind@tuwien.ac.at::fb41e3c4-5638-4a31-ac16-1792da400b46" providerId="AD" clId="Web-{AF48F7E9-6224-7B0A-214F-1121F27C0D89}" dt="2025-10-02T08:16:04.135" v="111" actId="1076"/>
          <ac:spMkLst>
            <pc:docMk/>
            <pc:sldMk cId="395657412" sldId="316"/>
            <ac:spMk id="17" creationId="{E925E857-2AFF-2EEA-3FB2-E3FCEC76223D}"/>
          </ac:spMkLst>
        </pc:spChg>
        <pc:spChg chg="mod">
          <ac:chgData name="Holzfeind, Katrin" userId="S::katrin.holzfeind@tuwien.ac.at::fb41e3c4-5638-4a31-ac16-1792da400b46" providerId="AD" clId="Web-{AF48F7E9-6224-7B0A-214F-1121F27C0D89}" dt="2025-10-02T08:09:28.990" v="18" actId="1076"/>
          <ac:spMkLst>
            <pc:docMk/>
            <pc:sldMk cId="395657412" sldId="316"/>
            <ac:spMk id="18" creationId="{BDD15481-93A7-39D9-70BA-2444C9A6FB73}"/>
          </ac:spMkLst>
        </pc:spChg>
        <pc:picChg chg="mod">
          <ac:chgData name="Holzfeind, Katrin" userId="S::katrin.holzfeind@tuwien.ac.at::fb41e3c4-5638-4a31-ac16-1792da400b46" providerId="AD" clId="Web-{AF48F7E9-6224-7B0A-214F-1121F27C0D89}" dt="2025-10-02T08:09:18.677" v="15"/>
          <ac:picMkLst>
            <pc:docMk/>
            <pc:sldMk cId="395657412" sldId="316"/>
            <ac:picMk id="8" creationId="{00000000-0000-0000-0000-000000000000}"/>
          </ac:picMkLst>
        </pc:picChg>
      </pc:sldChg>
      <pc:sldChg chg="addSp delSp modSp">
        <pc:chgData name="Holzfeind, Katrin" userId="S::katrin.holzfeind@tuwien.ac.at::fb41e3c4-5638-4a31-ac16-1792da400b46" providerId="AD" clId="Web-{AF48F7E9-6224-7B0A-214F-1121F27C0D89}" dt="2025-10-02T08:18:39.716" v="126" actId="14100"/>
        <pc:sldMkLst>
          <pc:docMk/>
          <pc:sldMk cId="3962340620" sldId="317"/>
        </pc:sldMkLst>
        <pc:spChg chg="add">
          <ac:chgData name="Holzfeind, Katrin" userId="S::katrin.holzfeind@tuwien.ac.at::fb41e3c4-5638-4a31-ac16-1792da400b46" providerId="AD" clId="Web-{AF48F7E9-6224-7B0A-214F-1121F27C0D89}" dt="2025-10-02T08:11:07.685" v="43"/>
          <ac:spMkLst>
            <pc:docMk/>
            <pc:sldMk cId="3962340620" sldId="317"/>
            <ac:spMk id="5" creationId="{102AC091-3BD0-E138-1549-E33AB28AE470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1:15.310" v="46"/>
          <ac:spMkLst>
            <pc:docMk/>
            <pc:sldMk cId="3962340620" sldId="317"/>
            <ac:spMk id="11" creationId="{383E7690-787B-7745-2FBC-38CC6CCFC4CF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1:23.483" v="49"/>
          <ac:spMkLst>
            <pc:docMk/>
            <pc:sldMk cId="3962340620" sldId="317"/>
            <ac:spMk id="15" creationId="{74803EB5-6438-F1AF-B853-BD95DE8C877A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6:09.885" v="112"/>
          <ac:spMkLst>
            <pc:docMk/>
            <pc:sldMk cId="3962340620" sldId="317"/>
            <ac:spMk id="19" creationId="{5370AF67-C689-A15D-096B-EB7191631F6E}"/>
          </ac:spMkLst>
        </pc:spChg>
        <pc:spChg chg="add mod">
          <ac:chgData name="Holzfeind, Katrin" userId="S::katrin.holzfeind@tuwien.ac.at::fb41e3c4-5638-4a31-ac16-1792da400b46" providerId="AD" clId="Web-{AF48F7E9-6224-7B0A-214F-1121F27C0D89}" dt="2025-10-02T08:18:39.716" v="126" actId="14100"/>
          <ac:spMkLst>
            <pc:docMk/>
            <pc:sldMk cId="3962340620" sldId="317"/>
            <ac:spMk id="21" creationId="{0FB8372F-9EAB-0DC2-E80C-E099A4B97550}"/>
          </ac:spMkLst>
        </pc:spChg>
        <pc:picChg chg="mod">
          <ac:chgData name="Holzfeind, Katrin" userId="S::katrin.holzfeind@tuwien.ac.at::fb41e3c4-5638-4a31-ac16-1792da400b46" providerId="AD" clId="Web-{AF48F7E9-6224-7B0A-214F-1121F27C0D89}" dt="2025-10-02T08:08:39.408" v="8"/>
          <ac:picMkLst>
            <pc:docMk/>
            <pc:sldMk cId="3962340620" sldId="317"/>
            <ac:picMk id="8" creationId="{00000000-0000-0000-0000-000000000000}"/>
          </ac:picMkLst>
        </pc:picChg>
      </pc:sldChg>
      <pc:sldChg chg="addSp delSp modSp">
        <pc:chgData name="Holzfeind, Katrin" userId="S::katrin.holzfeind@tuwien.ac.at::fb41e3c4-5638-4a31-ac16-1792da400b46" providerId="AD" clId="Web-{AF48F7E9-6224-7B0A-214F-1121F27C0D89}" dt="2025-10-02T08:16:12.760" v="113"/>
        <pc:sldMkLst>
          <pc:docMk/>
          <pc:sldMk cId="1200934302" sldId="318"/>
        </pc:sldMkLst>
        <pc:spChg chg="add">
          <ac:chgData name="Holzfeind, Katrin" userId="S::katrin.holzfeind@tuwien.ac.at::fb41e3c4-5638-4a31-ac16-1792da400b46" providerId="AD" clId="Web-{AF48F7E9-6224-7B0A-214F-1121F27C0D89}" dt="2025-10-02T08:11:28.155" v="51"/>
          <ac:spMkLst>
            <pc:docMk/>
            <pc:sldMk cId="1200934302" sldId="318"/>
            <ac:spMk id="9" creationId="{8B57D975-9971-A66D-614F-B396B60B0EBB}"/>
          </ac:spMkLst>
        </pc:spChg>
        <pc:spChg chg="mod">
          <ac:chgData name="Holzfeind, Katrin" userId="S::katrin.holzfeind@tuwien.ac.at::fb41e3c4-5638-4a31-ac16-1792da400b46" providerId="AD" clId="Web-{AF48F7E9-6224-7B0A-214F-1121F27C0D89}" dt="2025-10-02T08:08:55.081" v="12" actId="1076"/>
          <ac:spMkLst>
            <pc:docMk/>
            <pc:sldMk cId="1200934302" sldId="318"/>
            <ac:spMk id="13" creationId="{44D5C8DE-666B-E99B-0395-06B689B7EC1D}"/>
          </ac:spMkLst>
        </pc:spChg>
        <pc:spChg chg="add">
          <ac:chgData name="Holzfeind, Katrin" userId="S::katrin.holzfeind@tuwien.ac.at::fb41e3c4-5638-4a31-ac16-1792da400b46" providerId="AD" clId="Web-{AF48F7E9-6224-7B0A-214F-1121F27C0D89}" dt="2025-10-02T08:16:12.760" v="113"/>
          <ac:spMkLst>
            <pc:docMk/>
            <pc:sldMk cId="1200934302" sldId="318"/>
            <ac:spMk id="16" creationId="{4F281FA3-FB51-5A41-2666-82E7B8AC6482}"/>
          </ac:spMkLst>
        </pc:spChg>
        <pc:spChg chg="mod">
          <ac:chgData name="Holzfeind, Katrin" userId="S::katrin.holzfeind@tuwien.ac.at::fb41e3c4-5638-4a31-ac16-1792da400b46" providerId="AD" clId="Web-{AF48F7E9-6224-7B0A-214F-1121F27C0D89}" dt="2025-10-02T08:08:59.644" v="14" actId="1076"/>
          <ac:spMkLst>
            <pc:docMk/>
            <pc:sldMk cId="1200934302" sldId="318"/>
            <ac:spMk id="19" creationId="{FEB816FF-D5A1-9861-BF19-B594A11C7243}"/>
          </ac:spMkLst>
        </pc:spChg>
        <pc:picChg chg="mod">
          <ac:chgData name="Holzfeind, Katrin" userId="S::katrin.holzfeind@tuwien.ac.at::fb41e3c4-5638-4a31-ac16-1792da400b46" providerId="AD" clId="Web-{AF48F7E9-6224-7B0A-214F-1121F27C0D89}" dt="2025-10-02T08:08:17.015" v="7"/>
          <ac:picMkLst>
            <pc:docMk/>
            <pc:sldMk cId="1200934302" sldId="318"/>
            <ac:picMk id="2" creationId="{00000000-0000-0000-0000-000000000000}"/>
          </ac:picMkLst>
        </pc:picChg>
        <pc:picChg chg="mod">
          <ac:chgData name="Holzfeind, Katrin" userId="S::katrin.holzfeind@tuwien.ac.at::fb41e3c4-5638-4a31-ac16-1792da400b46" providerId="AD" clId="Web-{AF48F7E9-6224-7B0A-214F-1121F27C0D89}" dt="2025-10-02T08:08:04.264" v="6"/>
          <ac:picMkLst>
            <pc:docMk/>
            <pc:sldMk cId="1200934302" sldId="318"/>
            <ac:picMk id="8" creationId="{00000000-0000-0000-0000-000000000000}"/>
          </ac:picMkLst>
        </pc:picChg>
      </pc:sldChg>
      <pc:sldChg chg="addSp delSp modSp">
        <pc:chgData name="Holzfeind, Katrin" userId="S::katrin.holzfeind@tuwien.ac.at::fb41e3c4-5638-4a31-ac16-1792da400b46" providerId="AD" clId="Web-{AF48F7E9-6224-7B0A-214F-1121F27C0D89}" dt="2025-10-02T08:16:19.901" v="115"/>
        <pc:sldMkLst>
          <pc:docMk/>
          <pc:sldMk cId="2476193772" sldId="319"/>
        </pc:sldMkLst>
        <pc:picChg chg="mod">
          <ac:chgData name="Holzfeind, Katrin" userId="S::katrin.holzfeind@tuwien.ac.at::fb41e3c4-5638-4a31-ac16-1792da400b46" providerId="AD" clId="Web-{AF48F7E9-6224-7B0A-214F-1121F27C0D89}" dt="2025-10-02T08:04:55.632" v="0"/>
          <ac:picMkLst>
            <pc:docMk/>
            <pc:sldMk cId="2476193772" sldId="319"/>
            <ac:picMk id="13" creationId="{00000000-0000-0000-0000-000000000000}"/>
          </ac:picMkLst>
        </pc:picChg>
        <pc:picChg chg="mod">
          <ac:chgData name="Holzfeind, Katrin" userId="S::katrin.holzfeind@tuwien.ac.at::fb41e3c4-5638-4a31-ac16-1792da400b46" providerId="AD" clId="Web-{AF48F7E9-6224-7B0A-214F-1121F27C0D89}" dt="2025-10-02T08:07:14.166" v="5"/>
          <ac:picMkLst>
            <pc:docMk/>
            <pc:sldMk cId="2476193772" sldId="319"/>
            <ac:picMk id="15" creationId="{00000000-0000-0000-0000-000000000000}"/>
          </ac:picMkLst>
        </pc:picChg>
      </pc:sldChg>
      <pc:sldChg chg="addSp modSp">
        <pc:chgData name="Holzfeind, Katrin" userId="S::katrin.holzfeind@tuwien.ac.at::fb41e3c4-5638-4a31-ac16-1792da400b46" providerId="AD" clId="Web-{AF48F7E9-6224-7B0A-214F-1121F27C0D89}" dt="2025-10-02T08:16:30.463" v="116"/>
        <pc:sldMkLst>
          <pc:docMk/>
          <pc:sldMk cId="179924609" sldId="320"/>
        </pc:sldMkLst>
        <pc:spChg chg="add">
          <ac:chgData name="Holzfeind, Katrin" userId="S::katrin.holzfeind@tuwien.ac.at::fb41e3c4-5638-4a31-ac16-1792da400b46" providerId="AD" clId="Web-{AF48F7E9-6224-7B0A-214F-1121F27C0D89}" dt="2025-10-02T08:16:30.463" v="116"/>
          <ac:spMkLst>
            <pc:docMk/>
            <pc:sldMk cId="179924609" sldId="320"/>
            <ac:spMk id="4" creationId="{9B5B9C82-D6A7-890D-B99F-CBA5E2FA6143}"/>
          </ac:spMkLst>
        </pc:spChg>
        <pc:picChg chg="mod">
          <ac:chgData name="Holzfeind, Katrin" userId="S::katrin.holzfeind@tuwien.ac.at::fb41e3c4-5638-4a31-ac16-1792da400b46" providerId="AD" clId="Web-{AF48F7E9-6224-7B0A-214F-1121F27C0D89}" dt="2025-10-02T08:05:10.507" v="1"/>
          <ac:picMkLst>
            <pc:docMk/>
            <pc:sldMk cId="179924609" sldId="320"/>
            <ac:picMk id="13" creationId="{00000000-0000-0000-0000-000000000000}"/>
          </ac:picMkLst>
        </pc:picChg>
        <pc:picChg chg="mod">
          <ac:chgData name="Holzfeind, Katrin" userId="S::katrin.holzfeind@tuwien.ac.at::fb41e3c4-5638-4a31-ac16-1792da400b46" providerId="AD" clId="Web-{AF48F7E9-6224-7B0A-214F-1121F27C0D89}" dt="2025-10-02T08:07:00.587" v="4"/>
          <ac:picMkLst>
            <pc:docMk/>
            <pc:sldMk cId="179924609" sldId="320"/>
            <ac:picMk id="15" creationId="{00000000-0000-0000-0000-000000000000}"/>
          </ac:picMkLst>
        </pc:picChg>
      </pc:sldChg>
      <pc:sldChg chg="addSp modSp">
        <pc:chgData name="Holzfeind, Katrin" userId="S::katrin.holzfeind@tuwien.ac.at::fb41e3c4-5638-4a31-ac16-1792da400b46" providerId="AD" clId="Web-{AF48F7E9-6224-7B0A-214F-1121F27C0D89}" dt="2025-10-02T08:16:32.167" v="117"/>
        <pc:sldMkLst>
          <pc:docMk/>
          <pc:sldMk cId="1840700409" sldId="321"/>
        </pc:sldMkLst>
        <pc:spChg chg="add">
          <ac:chgData name="Holzfeind, Katrin" userId="S::katrin.holzfeind@tuwien.ac.at::fb41e3c4-5638-4a31-ac16-1792da400b46" providerId="AD" clId="Web-{AF48F7E9-6224-7B0A-214F-1121F27C0D89}" dt="2025-10-02T08:16:32.167" v="117"/>
          <ac:spMkLst>
            <pc:docMk/>
            <pc:sldMk cId="1840700409" sldId="321"/>
            <ac:spMk id="4" creationId="{85317E31-8702-91D2-08C2-E0498C678B77}"/>
          </ac:spMkLst>
        </pc:spChg>
        <pc:picChg chg="mod">
          <ac:chgData name="Holzfeind, Katrin" userId="S::katrin.holzfeind@tuwien.ac.at::fb41e3c4-5638-4a31-ac16-1792da400b46" providerId="AD" clId="Web-{AF48F7E9-6224-7B0A-214F-1121F27C0D89}" dt="2025-10-02T08:06:37.071" v="3"/>
          <ac:picMkLst>
            <pc:docMk/>
            <pc:sldMk cId="1840700409" sldId="321"/>
            <ac:picMk id="13" creationId="{00000000-0000-0000-0000-000000000000}"/>
          </ac:picMkLst>
        </pc:picChg>
        <pc:picChg chg="mod">
          <ac:chgData name="Holzfeind, Katrin" userId="S::katrin.holzfeind@tuwien.ac.at::fb41e3c4-5638-4a31-ac16-1792da400b46" providerId="AD" clId="Web-{AF48F7E9-6224-7B0A-214F-1121F27C0D89}" dt="2025-10-02T08:05:34.945" v="2"/>
          <ac:picMkLst>
            <pc:docMk/>
            <pc:sldMk cId="1840700409" sldId="321"/>
            <ac:picMk id="15" creationId="{00000000-0000-0000-0000-000000000000}"/>
          </ac:picMkLst>
        </pc:picChg>
      </pc:sldChg>
    </pc:docChg>
  </pc:docChgLst>
  <pc:docChgLst>
    <pc:chgData name="Holzfeind, Katrin" userId="S::katrin.holzfeind@tuwien.ac.at::fb41e3c4-5638-4a31-ac16-1792da400b46" providerId="AD" clId="Web-{78EBBB5E-8C81-7422-5C0B-37AE1C32041F}"/>
    <pc:docChg chg="modSld">
      <pc:chgData name="Holzfeind, Katrin" userId="S::katrin.holzfeind@tuwien.ac.at::fb41e3c4-5638-4a31-ac16-1792da400b46" providerId="AD" clId="Web-{78EBBB5E-8C81-7422-5C0B-37AE1C32041F}" dt="2025-10-04T07:14:19.045" v="0"/>
      <pc:docMkLst>
        <pc:docMk/>
      </pc:docMkLst>
      <pc:sldChg chg="addSp">
        <pc:chgData name="Holzfeind, Katrin" userId="S::katrin.holzfeind@tuwien.ac.at::fb41e3c4-5638-4a31-ac16-1792da400b46" providerId="AD" clId="Web-{78EBBB5E-8C81-7422-5C0B-37AE1C32041F}" dt="2025-10-04T07:14:19.045" v="0"/>
        <pc:sldMkLst>
          <pc:docMk/>
          <pc:sldMk cId="4024586435" sldId="293"/>
        </pc:sldMkLst>
        <pc:grpChg chg="add">
          <ac:chgData name="Holzfeind, Katrin" userId="S::katrin.holzfeind@tuwien.ac.at::fb41e3c4-5638-4a31-ac16-1792da400b46" providerId="AD" clId="Web-{78EBBB5E-8C81-7422-5C0B-37AE1C32041F}" dt="2025-10-04T07:14:19.045" v="0"/>
          <ac:grpSpMkLst>
            <pc:docMk/>
            <pc:sldMk cId="4024586435" sldId="293"/>
            <ac:grpSpMk id="2" creationId="{5F1F5E7C-9FFC-ABBB-26E8-B086D58DFD84}"/>
          </ac:grpSpMkLst>
        </pc:grpChg>
      </pc:sldChg>
    </pc:docChg>
  </pc:docChgLst>
  <pc:docChgLst>
    <pc:chgData name="Holzfeind, Katrin" userId="S::katrin.holzfeind@tuwien.ac.at::fb41e3c4-5638-4a31-ac16-1792da400b46" providerId="AD" clId="Web-{67BC6A59-8355-19A4-BC64-B80DC9807822}"/>
    <pc:docChg chg="modSld">
      <pc:chgData name="Holzfeind, Katrin" userId="S::katrin.holzfeind@tuwien.ac.at::fb41e3c4-5638-4a31-ac16-1792da400b46" providerId="AD" clId="Web-{67BC6A59-8355-19A4-BC64-B80DC9807822}" dt="2025-09-29T09:35:52.886" v="35"/>
      <pc:docMkLst>
        <pc:docMk/>
      </pc:docMkLst>
      <pc:sldChg chg="modAnim">
        <pc:chgData name="Holzfeind, Katrin" userId="S::katrin.holzfeind@tuwien.ac.at::fb41e3c4-5638-4a31-ac16-1792da400b46" providerId="AD" clId="Web-{67BC6A59-8355-19A4-BC64-B80DC9807822}" dt="2025-09-29T09:35:52.886" v="35"/>
        <pc:sldMkLst>
          <pc:docMk/>
          <pc:sldMk cId="602969503" sldId="322"/>
        </pc:sldMkLst>
      </pc:sldChg>
      <pc:sldChg chg="addSp modSp">
        <pc:chgData name="Holzfeind, Katrin" userId="S::katrin.holzfeind@tuwien.ac.at::fb41e3c4-5638-4a31-ac16-1792da400b46" providerId="AD" clId="Web-{67BC6A59-8355-19A4-BC64-B80DC9807822}" dt="2025-09-29T09:35:26.058" v="34" actId="1076"/>
        <pc:sldMkLst>
          <pc:docMk/>
          <pc:sldMk cId="3485241667" sldId="325"/>
        </pc:sldMkLst>
        <pc:spChg chg="add mod">
          <ac:chgData name="Holzfeind, Katrin" userId="S::katrin.holzfeind@tuwien.ac.at::fb41e3c4-5638-4a31-ac16-1792da400b46" providerId="AD" clId="Web-{67BC6A59-8355-19A4-BC64-B80DC9807822}" dt="2025-09-29T09:35:26.058" v="34" actId="1076"/>
          <ac:spMkLst>
            <pc:docMk/>
            <pc:sldMk cId="3485241667" sldId="325"/>
            <ac:spMk id="2" creationId="{6B58BBD4-24F9-9B05-4F61-2100470C1978}"/>
          </ac:spMkLst>
        </pc:spChg>
      </pc:sldChg>
    </pc:docChg>
  </pc:docChgLst>
  <pc:docChgLst>
    <pc:chgData name="Holzfeind, Katrin" userId="S::katrin.holzfeind@tuwien.ac.at::fb41e3c4-5638-4a31-ac16-1792da400b46" providerId="AD" clId="Web-{A417B043-5814-6E9E-68F8-A28238B2856A}"/>
    <pc:docChg chg="modSld sldOrd">
      <pc:chgData name="Holzfeind, Katrin" userId="S::katrin.holzfeind@tuwien.ac.at::fb41e3c4-5638-4a31-ac16-1792da400b46" providerId="AD" clId="Web-{A417B043-5814-6E9E-68F8-A28238B2856A}" dt="2025-09-30T12:45:33.076" v="491" actId="20577"/>
      <pc:docMkLst>
        <pc:docMk/>
      </pc:docMkLst>
      <pc:sldChg chg="modSp">
        <pc:chgData name="Holzfeind, Katrin" userId="S::katrin.holzfeind@tuwien.ac.at::fb41e3c4-5638-4a31-ac16-1792da400b46" providerId="AD" clId="Web-{A417B043-5814-6E9E-68F8-A28238B2856A}" dt="2025-09-30T12:02:29.478" v="18" actId="20577"/>
        <pc:sldMkLst>
          <pc:docMk/>
          <pc:sldMk cId="4024586435" sldId="293"/>
        </pc:sldMkLst>
        <pc:spChg chg="mod">
          <ac:chgData name="Holzfeind, Katrin" userId="S::katrin.holzfeind@tuwien.ac.at::fb41e3c4-5638-4a31-ac16-1792da400b46" providerId="AD" clId="Web-{A417B043-5814-6E9E-68F8-A28238B2856A}" dt="2025-09-30T12:02:29.478" v="18" actId="20577"/>
          <ac:spMkLst>
            <pc:docMk/>
            <pc:sldMk cId="4024586435" sldId="293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A417B043-5814-6E9E-68F8-A28238B2856A}" dt="2025-09-30T12:45:33.076" v="491" actId="20577"/>
        <pc:sldMkLst>
          <pc:docMk/>
          <pc:sldMk cId="939792035" sldId="295"/>
        </pc:sldMkLst>
        <pc:spChg chg="mod">
          <ac:chgData name="Holzfeind, Katrin" userId="S::katrin.holzfeind@tuwien.ac.at::fb41e3c4-5638-4a31-ac16-1792da400b46" providerId="AD" clId="Web-{A417B043-5814-6E9E-68F8-A28238B2856A}" dt="2025-09-30T12:45:33.076" v="491" actId="20577"/>
          <ac:spMkLst>
            <pc:docMk/>
            <pc:sldMk cId="939792035" sldId="295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A417B043-5814-6E9E-68F8-A28238B2856A}" dt="2025-09-30T12:05:54.462" v="132" actId="20577"/>
        <pc:sldMkLst>
          <pc:docMk/>
          <pc:sldMk cId="332737099" sldId="297"/>
        </pc:sldMkLst>
        <pc:spChg chg="mod">
          <ac:chgData name="Holzfeind, Katrin" userId="S::katrin.holzfeind@tuwien.ac.at::fb41e3c4-5638-4a31-ac16-1792da400b46" providerId="AD" clId="Web-{A417B043-5814-6E9E-68F8-A28238B2856A}" dt="2025-09-30T12:05:54.462" v="132" actId="20577"/>
          <ac:spMkLst>
            <pc:docMk/>
            <pc:sldMk cId="332737099" sldId="297"/>
            <ac:spMk id="6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A417B043-5814-6E9E-68F8-A28238B2856A}" dt="2025-09-30T12:18:55.605" v="355" actId="20577"/>
        <pc:sldMkLst>
          <pc:docMk/>
          <pc:sldMk cId="1024338273" sldId="298"/>
        </pc:sldMkLst>
        <pc:spChg chg="mod">
          <ac:chgData name="Holzfeind, Katrin" userId="S::katrin.holzfeind@tuwien.ac.at::fb41e3c4-5638-4a31-ac16-1792da400b46" providerId="AD" clId="Web-{A417B043-5814-6E9E-68F8-A28238B2856A}" dt="2025-09-30T12:06:07.806" v="138" actId="20577"/>
          <ac:spMkLst>
            <pc:docMk/>
            <pc:sldMk cId="1024338273" sldId="298"/>
            <ac:spMk id="6" creationId="{00000000-0000-0000-0000-000000000000}"/>
          </ac:spMkLst>
        </pc:spChg>
        <pc:spChg chg="mod">
          <ac:chgData name="Holzfeind, Katrin" userId="S::katrin.holzfeind@tuwien.ac.at::fb41e3c4-5638-4a31-ac16-1792da400b46" providerId="AD" clId="Web-{A417B043-5814-6E9E-68F8-A28238B2856A}" dt="2025-09-30T12:18:55.605" v="355" actId="20577"/>
          <ac:spMkLst>
            <pc:docMk/>
            <pc:sldMk cId="1024338273" sldId="298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A417B043-5814-6E9E-68F8-A28238B2856A}" dt="2025-09-30T12:18:52.949" v="353" actId="20577"/>
        <pc:sldMkLst>
          <pc:docMk/>
          <pc:sldMk cId="192005214" sldId="299"/>
        </pc:sldMkLst>
        <pc:spChg chg="mod">
          <ac:chgData name="Holzfeind, Katrin" userId="S::katrin.holzfeind@tuwien.ac.at::fb41e3c4-5638-4a31-ac16-1792da400b46" providerId="AD" clId="Web-{A417B043-5814-6E9E-68F8-A28238B2856A}" dt="2025-09-30T12:06:14.134" v="140" actId="20577"/>
          <ac:spMkLst>
            <pc:docMk/>
            <pc:sldMk cId="192005214" sldId="299"/>
            <ac:spMk id="6" creationId="{00000000-0000-0000-0000-000000000000}"/>
          </ac:spMkLst>
        </pc:spChg>
        <pc:spChg chg="mod">
          <ac:chgData name="Holzfeind, Katrin" userId="S::katrin.holzfeind@tuwien.ac.at::fb41e3c4-5638-4a31-ac16-1792da400b46" providerId="AD" clId="Web-{A417B043-5814-6E9E-68F8-A28238B2856A}" dt="2025-09-30T12:18:52.949" v="353" actId="20577"/>
          <ac:spMkLst>
            <pc:docMk/>
            <pc:sldMk cId="192005214" sldId="299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A417B043-5814-6E9E-68F8-A28238B2856A}" dt="2025-09-30T12:18:47.058" v="351" actId="20577"/>
        <pc:sldMkLst>
          <pc:docMk/>
          <pc:sldMk cId="801097719" sldId="300"/>
        </pc:sldMkLst>
        <pc:spChg chg="mod">
          <ac:chgData name="Holzfeind, Katrin" userId="S::katrin.holzfeind@tuwien.ac.at::fb41e3c4-5638-4a31-ac16-1792da400b46" providerId="AD" clId="Web-{A417B043-5814-6E9E-68F8-A28238B2856A}" dt="2025-09-30T12:06:19.712" v="143" actId="20577"/>
          <ac:spMkLst>
            <pc:docMk/>
            <pc:sldMk cId="801097719" sldId="300"/>
            <ac:spMk id="6" creationId="{00000000-0000-0000-0000-000000000000}"/>
          </ac:spMkLst>
        </pc:spChg>
        <pc:spChg chg="mod">
          <ac:chgData name="Holzfeind, Katrin" userId="S::katrin.holzfeind@tuwien.ac.at::fb41e3c4-5638-4a31-ac16-1792da400b46" providerId="AD" clId="Web-{A417B043-5814-6E9E-68F8-A28238B2856A}" dt="2025-09-30T12:18:47.058" v="351" actId="20577"/>
          <ac:spMkLst>
            <pc:docMk/>
            <pc:sldMk cId="801097719" sldId="300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A417B043-5814-6E9E-68F8-A28238B2856A}" dt="2025-09-30T12:18:59.027" v="357" actId="20577"/>
        <pc:sldMkLst>
          <pc:docMk/>
          <pc:sldMk cId="1071120812" sldId="302"/>
        </pc:sldMkLst>
        <pc:spChg chg="mod">
          <ac:chgData name="Holzfeind, Katrin" userId="S::katrin.holzfeind@tuwien.ac.at::fb41e3c4-5638-4a31-ac16-1792da400b46" providerId="AD" clId="Web-{A417B043-5814-6E9E-68F8-A28238B2856A}" dt="2025-09-30T12:06:01.853" v="136" actId="20577"/>
          <ac:spMkLst>
            <pc:docMk/>
            <pc:sldMk cId="1071120812" sldId="302"/>
            <ac:spMk id="6" creationId="{00000000-0000-0000-0000-000000000000}"/>
          </ac:spMkLst>
        </pc:spChg>
        <pc:spChg chg="mod">
          <ac:chgData name="Holzfeind, Katrin" userId="S::katrin.holzfeind@tuwien.ac.at::fb41e3c4-5638-4a31-ac16-1792da400b46" providerId="AD" clId="Web-{A417B043-5814-6E9E-68F8-A28238B2856A}" dt="2025-09-30T12:18:59.027" v="357" actId="20577"/>
          <ac:spMkLst>
            <pc:docMk/>
            <pc:sldMk cId="1071120812" sldId="302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A417B043-5814-6E9E-68F8-A28238B2856A}" dt="2025-09-30T12:19:04.105" v="359" actId="20577"/>
        <pc:sldMkLst>
          <pc:docMk/>
          <pc:sldMk cId="929336951" sldId="303"/>
        </pc:sldMkLst>
        <pc:spChg chg="mod">
          <ac:chgData name="Holzfeind, Katrin" userId="S::katrin.holzfeind@tuwien.ac.at::fb41e3c4-5638-4a31-ac16-1792da400b46" providerId="AD" clId="Web-{A417B043-5814-6E9E-68F8-A28238B2856A}" dt="2025-09-30T12:05:58.290" v="134" actId="20577"/>
          <ac:spMkLst>
            <pc:docMk/>
            <pc:sldMk cId="929336951" sldId="303"/>
            <ac:spMk id="6" creationId="{00000000-0000-0000-0000-000000000000}"/>
          </ac:spMkLst>
        </pc:spChg>
        <pc:spChg chg="mod">
          <ac:chgData name="Holzfeind, Katrin" userId="S::katrin.holzfeind@tuwien.ac.at::fb41e3c4-5638-4a31-ac16-1792da400b46" providerId="AD" clId="Web-{A417B043-5814-6E9E-68F8-A28238B2856A}" dt="2025-09-30T12:19:04.105" v="359" actId="20577"/>
          <ac:spMkLst>
            <pc:docMk/>
            <pc:sldMk cId="929336951" sldId="303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A417B043-5814-6E9E-68F8-A28238B2856A}" dt="2025-09-30T12:19:58.372" v="371" actId="20577"/>
        <pc:sldMkLst>
          <pc:docMk/>
          <pc:sldMk cId="881327793" sldId="304"/>
        </pc:sldMkLst>
        <pc:spChg chg="mod">
          <ac:chgData name="Holzfeind, Katrin" userId="S::katrin.holzfeind@tuwien.ac.at::fb41e3c4-5638-4a31-ac16-1792da400b46" providerId="AD" clId="Web-{A417B043-5814-6E9E-68F8-A28238B2856A}" dt="2025-09-30T12:06:25.619" v="148" actId="20577"/>
          <ac:spMkLst>
            <pc:docMk/>
            <pc:sldMk cId="881327793" sldId="304"/>
            <ac:spMk id="6" creationId="{00000000-0000-0000-0000-000000000000}"/>
          </ac:spMkLst>
        </pc:spChg>
        <pc:spChg chg="mod">
          <ac:chgData name="Holzfeind, Katrin" userId="S::katrin.holzfeind@tuwien.ac.at::fb41e3c4-5638-4a31-ac16-1792da400b46" providerId="AD" clId="Web-{A417B043-5814-6E9E-68F8-A28238B2856A}" dt="2025-09-30T12:19:58.372" v="371" actId="20577"/>
          <ac:spMkLst>
            <pc:docMk/>
            <pc:sldMk cId="881327793" sldId="304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A417B043-5814-6E9E-68F8-A28238B2856A}" dt="2025-09-30T12:07:59.903" v="190" actId="20577"/>
        <pc:sldMkLst>
          <pc:docMk/>
          <pc:sldMk cId="2134127259" sldId="305"/>
        </pc:sldMkLst>
        <pc:spChg chg="mod">
          <ac:chgData name="Holzfeind, Katrin" userId="S::katrin.holzfeind@tuwien.ac.at::fb41e3c4-5638-4a31-ac16-1792da400b46" providerId="AD" clId="Web-{A417B043-5814-6E9E-68F8-A28238B2856A}" dt="2025-09-30T12:06:34.557" v="160" actId="20577"/>
          <ac:spMkLst>
            <pc:docMk/>
            <pc:sldMk cId="2134127259" sldId="305"/>
            <ac:spMk id="6" creationId="{00000000-0000-0000-0000-000000000000}"/>
          </ac:spMkLst>
        </pc:spChg>
        <pc:spChg chg="mod">
          <ac:chgData name="Holzfeind, Katrin" userId="S::katrin.holzfeind@tuwien.ac.at::fb41e3c4-5638-4a31-ac16-1792da400b46" providerId="AD" clId="Web-{A417B043-5814-6E9E-68F8-A28238B2856A}" dt="2025-09-30T12:07:59.903" v="190" actId="20577"/>
          <ac:spMkLst>
            <pc:docMk/>
            <pc:sldMk cId="2134127259" sldId="305"/>
            <ac:spMk id="7" creationId="{00000000-0000-0000-0000-000000000000}"/>
          </ac:spMkLst>
        </pc:spChg>
      </pc:sldChg>
      <pc:sldChg chg="addSp delSp">
        <pc:chgData name="Holzfeind, Katrin" userId="S::katrin.holzfeind@tuwien.ac.at::fb41e3c4-5638-4a31-ac16-1792da400b46" providerId="AD" clId="Web-{A417B043-5814-6E9E-68F8-A28238B2856A}" dt="2025-09-30T12:13:58.250" v="275"/>
        <pc:sldMkLst>
          <pc:docMk/>
          <pc:sldMk cId="3843316520" sldId="307"/>
        </pc:sldMkLst>
      </pc:sldChg>
      <pc:sldChg chg="addSp delSp">
        <pc:chgData name="Holzfeind, Katrin" userId="S::katrin.holzfeind@tuwien.ac.at::fb41e3c4-5638-4a31-ac16-1792da400b46" providerId="AD" clId="Web-{A417B043-5814-6E9E-68F8-A28238B2856A}" dt="2025-09-30T12:14:02.298" v="277"/>
        <pc:sldMkLst>
          <pc:docMk/>
          <pc:sldMk cId="2886040691" sldId="308"/>
        </pc:sldMkLst>
      </pc:sldChg>
      <pc:sldChg chg="addSp delSp">
        <pc:chgData name="Holzfeind, Katrin" userId="S::katrin.holzfeind@tuwien.ac.at::fb41e3c4-5638-4a31-ac16-1792da400b46" providerId="AD" clId="Web-{A417B043-5814-6E9E-68F8-A28238B2856A}" dt="2025-09-30T12:14:08.516" v="279"/>
        <pc:sldMkLst>
          <pc:docMk/>
          <pc:sldMk cId="1154646993" sldId="309"/>
        </pc:sldMkLst>
      </pc:sldChg>
      <pc:sldChg chg="addSp modSp">
        <pc:chgData name="Holzfeind, Katrin" userId="S::katrin.holzfeind@tuwien.ac.at::fb41e3c4-5638-4a31-ac16-1792da400b46" providerId="AD" clId="Web-{A417B043-5814-6E9E-68F8-A28238B2856A}" dt="2025-09-30T12:34:36.943" v="461" actId="1076"/>
        <pc:sldMkLst>
          <pc:docMk/>
          <pc:sldMk cId="1391650604" sldId="310"/>
        </pc:sldMkLst>
        <pc:spChg chg="mod">
          <ac:chgData name="Holzfeind, Katrin" userId="S::katrin.holzfeind@tuwien.ac.at::fb41e3c4-5638-4a31-ac16-1792da400b46" providerId="AD" clId="Web-{A417B043-5814-6E9E-68F8-A28238B2856A}" dt="2025-09-30T12:08:17.685" v="207" actId="20577"/>
          <ac:spMkLst>
            <pc:docMk/>
            <pc:sldMk cId="1391650604" sldId="310"/>
            <ac:spMk id="7" creationId="{00000000-0000-0000-0000-000000000000}"/>
          </ac:spMkLst>
        </pc:spChg>
        <pc:spChg chg="add mod">
          <ac:chgData name="Holzfeind, Katrin" userId="S::katrin.holzfeind@tuwien.ac.at::fb41e3c4-5638-4a31-ac16-1792da400b46" providerId="AD" clId="Web-{A417B043-5814-6E9E-68F8-A28238B2856A}" dt="2025-09-30T12:13:12.516" v="265" actId="1076"/>
          <ac:spMkLst>
            <pc:docMk/>
            <pc:sldMk cId="1391650604" sldId="310"/>
            <ac:spMk id="9" creationId="{CC8CEA70-22B1-C6D8-5B73-6809B4812128}"/>
          </ac:spMkLst>
        </pc:spChg>
        <pc:spChg chg="add mod">
          <ac:chgData name="Holzfeind, Katrin" userId="S::katrin.holzfeind@tuwien.ac.at::fb41e3c4-5638-4a31-ac16-1792da400b46" providerId="AD" clId="Web-{A417B043-5814-6E9E-68F8-A28238B2856A}" dt="2025-09-30T12:13:19.891" v="267" actId="1076"/>
          <ac:spMkLst>
            <pc:docMk/>
            <pc:sldMk cId="1391650604" sldId="310"/>
            <ac:spMk id="11" creationId="{B8021413-2C36-A666-DC5A-0D92D9701FB8}"/>
          </ac:spMkLst>
        </pc:spChg>
        <pc:spChg chg="add mod">
          <ac:chgData name="Holzfeind, Katrin" userId="S::katrin.holzfeind@tuwien.ac.at::fb41e3c4-5638-4a31-ac16-1792da400b46" providerId="AD" clId="Web-{A417B043-5814-6E9E-68F8-A28238B2856A}" dt="2025-09-30T12:34:12.426" v="443" actId="1076"/>
          <ac:spMkLst>
            <pc:docMk/>
            <pc:sldMk cId="1391650604" sldId="310"/>
            <ac:spMk id="17" creationId="{F4CD6E55-CFBD-178B-B6A8-01B1FF861F73}"/>
          </ac:spMkLst>
        </pc:spChg>
        <pc:spChg chg="add mod">
          <ac:chgData name="Holzfeind, Katrin" userId="S::katrin.holzfeind@tuwien.ac.at::fb41e3c4-5638-4a31-ac16-1792da400b46" providerId="AD" clId="Web-{A417B043-5814-6E9E-68F8-A28238B2856A}" dt="2025-09-30T12:34:36.943" v="461" actId="1076"/>
          <ac:spMkLst>
            <pc:docMk/>
            <pc:sldMk cId="1391650604" sldId="310"/>
            <ac:spMk id="18" creationId="{BFA7EA88-9ACF-3BF0-D818-D790CE0CC7A3}"/>
          </ac:spMkLst>
        </pc:spChg>
      </pc:sldChg>
      <pc:sldChg chg="addSp delSp">
        <pc:chgData name="Holzfeind, Katrin" userId="S::katrin.holzfeind@tuwien.ac.at::fb41e3c4-5638-4a31-ac16-1792da400b46" providerId="AD" clId="Web-{A417B043-5814-6E9E-68F8-A28238B2856A}" dt="2025-09-30T12:34:45.412" v="463"/>
        <pc:sldMkLst>
          <pc:docMk/>
          <pc:sldMk cId="2313702547" sldId="311"/>
        </pc:sldMkLst>
        <pc:spChg chg="add del">
          <ac:chgData name="Holzfeind, Katrin" userId="S::katrin.holzfeind@tuwien.ac.at::fb41e3c4-5638-4a31-ac16-1792da400b46" providerId="AD" clId="Web-{A417B043-5814-6E9E-68F8-A28238B2856A}" dt="2025-09-30T12:34:06.067" v="440"/>
          <ac:spMkLst>
            <pc:docMk/>
            <pc:sldMk cId="2313702547" sldId="311"/>
            <ac:spMk id="16" creationId="{6934A737-2622-C7A1-081E-F9B29874F52A}"/>
          </ac:spMkLst>
        </pc:spChg>
        <pc:spChg chg="add del">
          <ac:chgData name="Holzfeind, Katrin" userId="S::katrin.holzfeind@tuwien.ac.at::fb41e3c4-5638-4a31-ac16-1792da400b46" providerId="AD" clId="Web-{A417B043-5814-6E9E-68F8-A28238B2856A}" dt="2025-09-30T12:34:06.067" v="441"/>
          <ac:spMkLst>
            <pc:docMk/>
            <pc:sldMk cId="2313702547" sldId="311"/>
            <ac:spMk id="18" creationId="{67AAA668-E30D-656A-7B0E-91379E66DD90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34:45.396" v="462"/>
          <ac:spMkLst>
            <pc:docMk/>
            <pc:sldMk cId="2313702547" sldId="311"/>
            <ac:spMk id="26" creationId="{F8C5FCD9-C797-EDF1-03DE-D521BBE02694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34:45.412" v="463"/>
          <ac:spMkLst>
            <pc:docMk/>
            <pc:sldMk cId="2313702547" sldId="311"/>
            <ac:spMk id="28" creationId="{3847A94D-CC41-BCCC-D4D7-14FEC3CDB2CF}"/>
          </ac:spMkLst>
        </pc:spChg>
      </pc:sldChg>
      <pc:sldChg chg="addSp delSp modSp">
        <pc:chgData name="Holzfeind, Katrin" userId="S::katrin.holzfeind@tuwien.ac.at::fb41e3c4-5638-4a31-ac16-1792da400b46" providerId="AD" clId="Web-{A417B043-5814-6E9E-68F8-A28238B2856A}" dt="2025-09-30T12:34:47.068" v="465"/>
        <pc:sldMkLst>
          <pc:docMk/>
          <pc:sldMk cId="1720362312" sldId="312"/>
        </pc:sldMkLst>
        <pc:spChg chg="add">
          <ac:chgData name="Holzfeind, Katrin" userId="S::katrin.holzfeind@tuwien.ac.at::fb41e3c4-5638-4a31-ac16-1792da400b46" providerId="AD" clId="Web-{A417B043-5814-6E9E-68F8-A28238B2856A}" dt="2025-09-30T12:09:28.654" v="212"/>
          <ac:spMkLst>
            <pc:docMk/>
            <pc:sldMk cId="1720362312" sldId="312"/>
            <ac:spMk id="4" creationId="{DC7F1E24-77FC-CC36-84AC-51292FB3F5CC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10:00.983" v="221"/>
          <ac:spMkLst>
            <pc:docMk/>
            <pc:sldMk cId="1720362312" sldId="312"/>
            <ac:spMk id="9" creationId="{32B7F5FD-ABAD-B864-4395-A57CDAF0BC10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10:35.608" v="228"/>
          <ac:spMkLst>
            <pc:docMk/>
            <pc:sldMk cId="1720362312" sldId="312"/>
            <ac:spMk id="12" creationId="{4B313EF8-9036-F261-6F37-4C614236D37D}"/>
          </ac:spMkLst>
        </pc:spChg>
        <pc:spChg chg="add del">
          <ac:chgData name="Holzfeind, Katrin" userId="S::katrin.holzfeind@tuwien.ac.at::fb41e3c4-5638-4a31-ac16-1792da400b46" providerId="AD" clId="Web-{A417B043-5814-6E9E-68F8-A28238B2856A}" dt="2025-09-30T12:34:04.035" v="438"/>
          <ac:spMkLst>
            <pc:docMk/>
            <pc:sldMk cId="1720362312" sldId="312"/>
            <ac:spMk id="14" creationId="{59EE51A8-8021-1149-2CEB-978D53259970}"/>
          </ac:spMkLst>
        </pc:spChg>
        <pc:spChg chg="add del">
          <ac:chgData name="Holzfeind, Katrin" userId="S::katrin.holzfeind@tuwien.ac.at::fb41e3c4-5638-4a31-ac16-1792da400b46" providerId="AD" clId="Web-{A417B043-5814-6E9E-68F8-A28238B2856A}" dt="2025-09-30T12:34:04.379" v="439"/>
          <ac:spMkLst>
            <pc:docMk/>
            <pc:sldMk cId="1720362312" sldId="312"/>
            <ac:spMk id="16" creationId="{9B4AC89E-7EA4-096B-CA57-22A2FE59F96A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22:58.905" v="402"/>
          <ac:spMkLst>
            <pc:docMk/>
            <pc:sldMk cId="1720362312" sldId="312"/>
            <ac:spMk id="18" creationId="{499D6BCA-2EE0-8589-935E-61E7BC1A6658}"/>
          </ac:spMkLst>
        </pc:spChg>
        <pc:spChg chg="add mod">
          <ac:chgData name="Holzfeind, Katrin" userId="S::katrin.holzfeind@tuwien.ac.at::fb41e3c4-5638-4a31-ac16-1792da400b46" providerId="AD" clId="Web-{A417B043-5814-6E9E-68F8-A28238B2856A}" dt="2025-09-30T12:24:32.417" v="421" actId="1076"/>
          <ac:spMkLst>
            <pc:docMk/>
            <pc:sldMk cId="1720362312" sldId="312"/>
            <ac:spMk id="20" creationId="{F7FFBCD4-9ED3-FE92-3AF9-9A5BF13874DE}"/>
          </ac:spMkLst>
        </pc:spChg>
        <pc:spChg chg="add mod">
          <ac:chgData name="Holzfeind, Katrin" userId="S::katrin.holzfeind@tuwien.ac.at::fb41e3c4-5638-4a31-ac16-1792da400b46" providerId="AD" clId="Web-{A417B043-5814-6E9E-68F8-A28238B2856A}" dt="2025-09-30T12:24:40.418" v="423" actId="1076"/>
          <ac:spMkLst>
            <pc:docMk/>
            <pc:sldMk cId="1720362312" sldId="312"/>
            <ac:spMk id="21" creationId="{E1932C80-D88A-B687-8E30-082852A6BF70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34:47.052" v="464"/>
          <ac:spMkLst>
            <pc:docMk/>
            <pc:sldMk cId="1720362312" sldId="312"/>
            <ac:spMk id="23" creationId="{BE394284-69DC-B0A6-930D-8D1C83E8B75E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34:47.068" v="465"/>
          <ac:spMkLst>
            <pc:docMk/>
            <pc:sldMk cId="1720362312" sldId="312"/>
            <ac:spMk id="25" creationId="{6399C830-1528-61BE-2A49-36ACAFEFA290}"/>
          </ac:spMkLst>
        </pc:spChg>
      </pc:sldChg>
      <pc:sldChg chg="addSp delSp modSp">
        <pc:chgData name="Holzfeind, Katrin" userId="S::katrin.holzfeind@tuwien.ac.at::fb41e3c4-5638-4a31-ac16-1792da400b46" providerId="AD" clId="Web-{A417B043-5814-6E9E-68F8-A28238B2856A}" dt="2025-09-30T12:35:22.350" v="479" actId="1076"/>
        <pc:sldMkLst>
          <pc:docMk/>
          <pc:sldMk cId="2643910187" sldId="313"/>
        </pc:sldMkLst>
        <pc:spChg chg="add del">
          <ac:chgData name="Holzfeind, Katrin" userId="S::katrin.holzfeind@tuwien.ac.at::fb41e3c4-5638-4a31-ac16-1792da400b46" providerId="AD" clId="Web-{A417B043-5814-6E9E-68F8-A28238B2856A}" dt="2025-09-30T12:34:02.614" v="436"/>
          <ac:spMkLst>
            <pc:docMk/>
            <pc:sldMk cId="2643910187" sldId="313"/>
            <ac:spMk id="12" creationId="{A7386DAB-3147-4BC7-D03F-A3ACABF87736}"/>
          </ac:spMkLst>
        </pc:spChg>
        <pc:spChg chg="add del">
          <ac:chgData name="Holzfeind, Katrin" userId="S::katrin.holzfeind@tuwien.ac.at::fb41e3c4-5638-4a31-ac16-1792da400b46" providerId="AD" clId="Web-{A417B043-5814-6E9E-68F8-A28238B2856A}" dt="2025-09-30T12:34:03.410" v="437"/>
          <ac:spMkLst>
            <pc:docMk/>
            <pc:sldMk cId="2643910187" sldId="313"/>
            <ac:spMk id="14" creationId="{DDBC77D7-483A-EF19-4C2B-45A82C7CBC52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34:48.865" v="466"/>
          <ac:spMkLst>
            <pc:docMk/>
            <pc:sldMk cId="2643910187" sldId="313"/>
            <ac:spMk id="20" creationId="{D4F618DD-D54A-F18B-0BFA-686BFFB9DC72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34:48.880" v="467"/>
          <ac:spMkLst>
            <pc:docMk/>
            <pc:sldMk cId="2643910187" sldId="313"/>
            <ac:spMk id="22" creationId="{43D57FEF-B28C-A237-7ED8-FA3404D6E010}"/>
          </ac:spMkLst>
        </pc:spChg>
      </pc:sldChg>
      <pc:sldChg chg="addSp delSp">
        <pc:chgData name="Holzfeind, Katrin" userId="S::katrin.holzfeind@tuwien.ac.at::fb41e3c4-5638-4a31-ac16-1792da400b46" providerId="AD" clId="Web-{A417B043-5814-6E9E-68F8-A28238B2856A}" dt="2025-09-30T12:35:33.569" v="481"/>
        <pc:sldMkLst>
          <pc:docMk/>
          <pc:sldMk cId="1622992584" sldId="314"/>
        </pc:sldMkLst>
        <pc:spChg chg="add">
          <ac:chgData name="Holzfeind, Katrin" userId="S::katrin.holzfeind@tuwien.ac.at::fb41e3c4-5638-4a31-ac16-1792da400b46" providerId="AD" clId="Web-{A417B043-5814-6E9E-68F8-A28238B2856A}" dt="2025-09-30T12:11:08.280" v="230"/>
          <ac:spMkLst>
            <pc:docMk/>
            <pc:sldMk cId="1622992584" sldId="314"/>
            <ac:spMk id="4" creationId="{7C121F19-EB76-031B-2773-C207B89F8E65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14:23.829" v="286"/>
          <ac:spMkLst>
            <pc:docMk/>
            <pc:sldMk cId="1622992584" sldId="314"/>
            <ac:spMk id="12" creationId="{DE81FB20-A8B1-0B1C-B005-750E3A3EAEC9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14:23.844" v="287"/>
          <ac:spMkLst>
            <pc:docMk/>
            <pc:sldMk cId="1622992584" sldId="314"/>
            <ac:spMk id="14" creationId="{F5F91056-B647-E973-151B-3AF3B908995D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34:51.724" v="468"/>
          <ac:spMkLst>
            <pc:docMk/>
            <pc:sldMk cId="1622992584" sldId="314"/>
            <ac:spMk id="20" creationId="{6B5982F7-1E01-4F0C-6097-C784ACE21FDC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34:51.740" v="469"/>
          <ac:spMkLst>
            <pc:docMk/>
            <pc:sldMk cId="1622992584" sldId="314"/>
            <ac:spMk id="22" creationId="{C85E5F75-1ACF-E675-29B7-56F16D4E7C88}"/>
          </ac:spMkLst>
        </pc:spChg>
      </pc:sldChg>
      <pc:sldChg chg="addSp delSp modSp ord">
        <pc:chgData name="Holzfeind, Katrin" userId="S::katrin.holzfeind@tuwien.ac.at::fb41e3c4-5638-4a31-ac16-1792da400b46" providerId="AD" clId="Web-{A417B043-5814-6E9E-68F8-A28238B2856A}" dt="2025-09-30T12:35:37.663" v="483"/>
        <pc:sldMkLst>
          <pc:docMk/>
          <pc:sldMk cId="4124225697" sldId="315"/>
        </pc:sldMkLst>
        <pc:spChg chg="add">
          <ac:chgData name="Holzfeind, Katrin" userId="S::katrin.holzfeind@tuwien.ac.at::fb41e3c4-5638-4a31-ac16-1792da400b46" providerId="AD" clId="Web-{A417B043-5814-6E9E-68F8-A28238B2856A}" dt="2025-09-30T12:11:37.218" v="237"/>
          <ac:spMkLst>
            <pc:docMk/>
            <pc:sldMk cId="4124225697" sldId="315"/>
            <ac:spMk id="9" creationId="{96779E81-95FB-C722-B46B-880F824A356D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14:25.969" v="288"/>
          <ac:spMkLst>
            <pc:docMk/>
            <pc:sldMk cId="4124225697" sldId="315"/>
            <ac:spMk id="12" creationId="{1A3811F9-E833-AB97-8A7E-902260B1B90E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14:25.969" v="289"/>
          <ac:spMkLst>
            <pc:docMk/>
            <pc:sldMk cId="4124225697" sldId="315"/>
            <ac:spMk id="14" creationId="{6D3E8227-AE65-056B-2744-39644B8DB890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34:53.959" v="470"/>
          <ac:spMkLst>
            <pc:docMk/>
            <pc:sldMk cId="4124225697" sldId="315"/>
            <ac:spMk id="20" creationId="{5D391891-2B73-862B-6C87-E86CBB532CCA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34:53.974" v="471"/>
          <ac:spMkLst>
            <pc:docMk/>
            <pc:sldMk cId="4124225697" sldId="315"/>
            <ac:spMk id="22" creationId="{BAE400A6-ACF7-62ED-7AC1-57B54B997C9A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35:37.663" v="483"/>
          <ac:spMkLst>
            <pc:docMk/>
            <pc:sldMk cId="4124225697" sldId="315"/>
            <ac:spMk id="24" creationId="{27DB8018-280B-1313-6B71-4AA4550BF59D}"/>
          </ac:spMkLst>
        </pc:spChg>
      </pc:sldChg>
      <pc:sldChg chg="addSp modSp">
        <pc:chgData name="Holzfeind, Katrin" userId="S::katrin.holzfeind@tuwien.ac.at::fb41e3c4-5638-4a31-ac16-1792da400b46" providerId="AD" clId="Web-{A417B043-5814-6E9E-68F8-A28238B2856A}" dt="2025-09-30T12:35:42.522" v="484" actId="1076"/>
        <pc:sldMkLst>
          <pc:docMk/>
          <pc:sldMk cId="395657412" sldId="316"/>
        </pc:sldMkLst>
        <pc:spChg chg="add mod">
          <ac:chgData name="Holzfeind, Katrin" userId="S::katrin.holzfeind@tuwien.ac.at::fb41e3c4-5638-4a31-ac16-1792da400b46" providerId="AD" clId="Web-{A417B043-5814-6E9E-68F8-A28238B2856A}" dt="2025-09-30T12:11:18.062" v="233" actId="1076"/>
          <ac:spMkLst>
            <pc:docMk/>
            <pc:sldMk cId="395657412" sldId="316"/>
            <ac:spMk id="4" creationId="{73DC59C5-3871-855B-C567-3278A0518327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14:28.501" v="290"/>
          <ac:spMkLst>
            <pc:docMk/>
            <pc:sldMk cId="395657412" sldId="316"/>
            <ac:spMk id="12" creationId="{1D35A84A-1E50-4096-2226-4C6646F99EEB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14:28.516" v="291"/>
          <ac:spMkLst>
            <pc:docMk/>
            <pc:sldMk cId="395657412" sldId="316"/>
            <ac:spMk id="14" creationId="{F9C810CC-A3CE-B15E-75D8-27591CC2531C}"/>
          </ac:spMkLst>
        </pc:spChg>
        <pc:spChg chg="add mod">
          <ac:chgData name="Holzfeind, Katrin" userId="S::katrin.holzfeind@tuwien.ac.at::fb41e3c4-5638-4a31-ac16-1792da400b46" providerId="AD" clId="Web-{A417B043-5814-6E9E-68F8-A28238B2856A}" dt="2025-09-30T12:35:42.522" v="484" actId="1076"/>
          <ac:spMkLst>
            <pc:docMk/>
            <pc:sldMk cId="395657412" sldId="316"/>
            <ac:spMk id="18" creationId="{BDD15481-93A7-39D9-70BA-2444C9A6FB73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34:56.099" v="472"/>
          <ac:spMkLst>
            <pc:docMk/>
            <pc:sldMk cId="395657412" sldId="316"/>
            <ac:spMk id="20" creationId="{295ED0D5-9CD6-CF73-5D01-F4AD02121697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34:56.115" v="473"/>
          <ac:spMkLst>
            <pc:docMk/>
            <pc:sldMk cId="395657412" sldId="316"/>
            <ac:spMk id="22" creationId="{2C435419-8086-6C91-0520-9378E4750FB3}"/>
          </ac:spMkLst>
        </pc:spChg>
      </pc:sldChg>
      <pc:sldChg chg="addSp delSp">
        <pc:chgData name="Holzfeind, Katrin" userId="S::katrin.holzfeind@tuwien.ac.at::fb41e3c4-5638-4a31-ac16-1792da400b46" providerId="AD" clId="Web-{A417B043-5814-6E9E-68F8-A28238B2856A}" dt="2025-09-30T12:35:46.710" v="486"/>
        <pc:sldMkLst>
          <pc:docMk/>
          <pc:sldMk cId="3962340620" sldId="317"/>
        </pc:sldMkLst>
        <pc:spChg chg="add">
          <ac:chgData name="Holzfeind, Katrin" userId="S::katrin.holzfeind@tuwien.ac.at::fb41e3c4-5638-4a31-ac16-1792da400b46" providerId="AD" clId="Web-{A417B043-5814-6E9E-68F8-A28238B2856A}" dt="2025-09-30T12:11:22.265" v="234"/>
          <ac:spMkLst>
            <pc:docMk/>
            <pc:sldMk cId="3962340620" sldId="317"/>
            <ac:spMk id="4" creationId="{98A5DCE9-94CC-9254-AAE6-432184E8D27C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14:31.126" v="292"/>
          <ac:spMkLst>
            <pc:docMk/>
            <pc:sldMk cId="3962340620" sldId="317"/>
            <ac:spMk id="14" creationId="{BDB7ED4C-7A3D-AE5F-76D3-FD741C85C11B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14:31.157" v="293"/>
          <ac:spMkLst>
            <pc:docMk/>
            <pc:sldMk cId="3962340620" sldId="317"/>
            <ac:spMk id="16" creationId="{F2F8F3B5-B170-23FB-89F1-232F80A44280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34:59.021" v="474"/>
          <ac:spMkLst>
            <pc:docMk/>
            <pc:sldMk cId="3962340620" sldId="317"/>
            <ac:spMk id="22" creationId="{4370AB2E-96A8-4F8B-B8C8-3EE1AF9470C3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34:59.037" v="475"/>
          <ac:spMkLst>
            <pc:docMk/>
            <pc:sldMk cId="3962340620" sldId="317"/>
            <ac:spMk id="24" creationId="{678CD7AE-FCDA-9D2E-A690-1D31101E9996}"/>
          </ac:spMkLst>
        </pc:spChg>
      </pc:sldChg>
      <pc:sldChg chg="addSp delSp modSp">
        <pc:chgData name="Holzfeind, Katrin" userId="S::katrin.holzfeind@tuwien.ac.at::fb41e3c4-5638-4a31-ac16-1792da400b46" providerId="AD" clId="Web-{A417B043-5814-6E9E-68F8-A28238B2856A}" dt="2025-09-30T12:35:52.897" v="488"/>
        <pc:sldMkLst>
          <pc:docMk/>
          <pc:sldMk cId="1200934302" sldId="318"/>
        </pc:sldMkLst>
        <pc:spChg chg="add">
          <ac:chgData name="Holzfeind, Katrin" userId="S::katrin.holzfeind@tuwien.ac.at::fb41e3c4-5638-4a31-ac16-1792da400b46" providerId="AD" clId="Web-{A417B043-5814-6E9E-68F8-A28238B2856A}" dt="2025-09-30T12:11:24.359" v="235"/>
          <ac:spMkLst>
            <pc:docMk/>
            <pc:sldMk cId="1200934302" sldId="318"/>
            <ac:spMk id="5" creationId="{60E3EE50-0B3A-3F8D-4CAA-567D141E984D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11:55.640" v="243"/>
          <ac:spMkLst>
            <pc:docMk/>
            <pc:sldMk cId="1200934302" sldId="318"/>
            <ac:spMk id="13" creationId="{44D5C8DE-666B-E99B-0395-06B689B7EC1D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14:33.329" v="294"/>
          <ac:spMkLst>
            <pc:docMk/>
            <pc:sldMk cId="1200934302" sldId="318"/>
            <ac:spMk id="15" creationId="{8043A846-4B90-4C17-B557-71BDE18A44AB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14:33.344" v="295"/>
          <ac:spMkLst>
            <pc:docMk/>
            <pc:sldMk cId="1200934302" sldId="318"/>
            <ac:spMk id="17" creationId="{2909ED41-9F57-EEB4-7FF2-17D30A3CA6F8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23:48.551" v="411"/>
          <ac:spMkLst>
            <pc:docMk/>
            <pc:sldMk cId="1200934302" sldId="318"/>
            <ac:spMk id="19" creationId="{FEB816FF-D5A1-9861-BF19-B594A11C7243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35:02.162" v="476"/>
          <ac:spMkLst>
            <pc:docMk/>
            <pc:sldMk cId="1200934302" sldId="318"/>
            <ac:spMk id="22" creationId="{6FE27822-A2B8-3F3F-9D24-EDAB1C734BB3}"/>
          </ac:spMkLst>
        </pc:spChg>
        <pc:spChg chg="add">
          <ac:chgData name="Holzfeind, Katrin" userId="S::katrin.holzfeind@tuwien.ac.at::fb41e3c4-5638-4a31-ac16-1792da400b46" providerId="AD" clId="Web-{A417B043-5814-6E9E-68F8-A28238B2856A}" dt="2025-09-30T12:35:02.178" v="477"/>
          <ac:spMkLst>
            <pc:docMk/>
            <pc:sldMk cId="1200934302" sldId="318"/>
            <ac:spMk id="24" creationId="{53A4080C-D0D8-CF86-9C3C-8C6E3187D45C}"/>
          </ac:spMkLst>
        </pc:spChg>
      </pc:sldChg>
      <pc:sldChg chg="modSp">
        <pc:chgData name="Holzfeind, Katrin" userId="S::katrin.holzfeind@tuwien.ac.at::fb41e3c4-5638-4a31-ac16-1792da400b46" providerId="AD" clId="Web-{A417B043-5814-6E9E-68F8-A28238B2856A}" dt="2025-09-30T12:21:24.294" v="387" actId="20577"/>
        <pc:sldMkLst>
          <pc:docMk/>
          <pc:sldMk cId="179924609" sldId="320"/>
        </pc:sldMkLst>
        <pc:spChg chg="mod">
          <ac:chgData name="Holzfeind, Katrin" userId="S::katrin.holzfeind@tuwien.ac.at::fb41e3c4-5638-4a31-ac16-1792da400b46" providerId="AD" clId="Web-{A417B043-5814-6E9E-68F8-A28238B2856A}" dt="2025-09-30T12:21:24.294" v="387" actId="20577"/>
          <ac:spMkLst>
            <pc:docMk/>
            <pc:sldMk cId="179924609" sldId="320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A417B043-5814-6E9E-68F8-A28238B2856A}" dt="2025-09-30T12:18:02.151" v="342" actId="20577"/>
        <pc:sldMkLst>
          <pc:docMk/>
          <pc:sldMk cId="1840700409" sldId="321"/>
        </pc:sldMkLst>
        <pc:spChg chg="mod">
          <ac:chgData name="Holzfeind, Katrin" userId="S::katrin.holzfeind@tuwien.ac.at::fb41e3c4-5638-4a31-ac16-1792da400b46" providerId="AD" clId="Web-{A417B043-5814-6E9E-68F8-A28238B2856A}" dt="2025-09-30T12:18:02.151" v="342" actId="20577"/>
          <ac:spMkLst>
            <pc:docMk/>
            <pc:sldMk cId="1840700409" sldId="321"/>
            <ac:spMk id="8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A417B043-5814-6E9E-68F8-A28238B2856A}" dt="2025-09-30T12:15:08.674" v="299" actId="20577"/>
        <pc:sldMkLst>
          <pc:docMk/>
          <pc:sldMk cId="602969503" sldId="322"/>
        </pc:sldMkLst>
        <pc:spChg chg="mod">
          <ac:chgData name="Holzfeind, Katrin" userId="S::katrin.holzfeind@tuwien.ac.at::fb41e3c4-5638-4a31-ac16-1792da400b46" providerId="AD" clId="Web-{A417B043-5814-6E9E-68F8-A28238B2856A}" dt="2025-09-30T12:14:53.141" v="297" actId="20577"/>
          <ac:spMkLst>
            <pc:docMk/>
            <pc:sldMk cId="602969503" sldId="322"/>
            <ac:spMk id="6" creationId="{00000000-0000-0000-0000-000000000000}"/>
          </ac:spMkLst>
        </pc:spChg>
        <pc:spChg chg="mod">
          <ac:chgData name="Holzfeind, Katrin" userId="S::katrin.holzfeind@tuwien.ac.at::fb41e3c4-5638-4a31-ac16-1792da400b46" providerId="AD" clId="Web-{A417B043-5814-6E9E-68F8-A28238B2856A}" dt="2025-09-30T12:15:08.674" v="299" actId="20577"/>
          <ac:spMkLst>
            <pc:docMk/>
            <pc:sldMk cId="602969503" sldId="322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A417B043-5814-6E9E-68F8-A28238B2856A}" dt="2025-09-30T12:16:46.055" v="309" actId="20577"/>
        <pc:sldMkLst>
          <pc:docMk/>
          <pc:sldMk cId="1315419881" sldId="323"/>
        </pc:sldMkLst>
        <pc:spChg chg="mod">
          <ac:chgData name="Holzfeind, Katrin" userId="S::katrin.holzfeind@tuwien.ac.at::fb41e3c4-5638-4a31-ac16-1792da400b46" providerId="AD" clId="Web-{A417B043-5814-6E9E-68F8-A28238B2856A}" dt="2025-09-30T12:16:46.055" v="309" actId="20577"/>
          <ac:spMkLst>
            <pc:docMk/>
            <pc:sldMk cId="1315419881" sldId="323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A417B043-5814-6E9E-68F8-A28238B2856A}" dt="2025-09-30T12:22:21.029" v="397" actId="20577"/>
        <pc:sldMkLst>
          <pc:docMk/>
          <pc:sldMk cId="3485241667" sldId="325"/>
        </pc:sldMkLst>
        <pc:spChg chg="mod">
          <ac:chgData name="Holzfeind, Katrin" userId="S::katrin.holzfeind@tuwien.ac.at::fb41e3c4-5638-4a31-ac16-1792da400b46" providerId="AD" clId="Web-{A417B043-5814-6E9E-68F8-A28238B2856A}" dt="2025-09-30T12:22:21.029" v="397" actId="20577"/>
          <ac:spMkLst>
            <pc:docMk/>
            <pc:sldMk cId="3485241667" sldId="325"/>
            <ac:spMk id="7" creationId="{00000000-0000-0000-0000-000000000000}"/>
          </ac:spMkLst>
        </pc:spChg>
      </pc:sldChg>
    </pc:docChg>
  </pc:docChgLst>
  <pc:docChgLst>
    <pc:chgData name="Holzfeind, Katrin" userId="S::katrin.holzfeind@tuwien.ac.at::fb41e3c4-5638-4a31-ac16-1792da400b46" providerId="AD" clId="Web-{8FF043F9-AB2A-215C-1636-BD35ADC4439C}"/>
    <pc:docChg chg="modSld">
      <pc:chgData name="Holzfeind, Katrin" userId="S::katrin.holzfeind@tuwien.ac.at::fb41e3c4-5638-4a31-ac16-1792da400b46" providerId="AD" clId="Web-{8FF043F9-AB2A-215C-1636-BD35ADC4439C}" dt="2025-10-01T11:42:50.729" v="16" actId="20577"/>
      <pc:docMkLst>
        <pc:docMk/>
      </pc:docMkLst>
      <pc:sldChg chg="modSp">
        <pc:chgData name="Holzfeind, Katrin" userId="S::katrin.holzfeind@tuwien.ac.at::fb41e3c4-5638-4a31-ac16-1792da400b46" providerId="AD" clId="Web-{8FF043F9-AB2A-215C-1636-BD35ADC4439C}" dt="2025-10-01T11:37:47.342" v="8" actId="20577"/>
        <pc:sldMkLst>
          <pc:docMk/>
          <pc:sldMk cId="4024586435" sldId="293"/>
        </pc:sldMkLst>
        <pc:spChg chg="mod">
          <ac:chgData name="Holzfeind, Katrin" userId="S::katrin.holzfeind@tuwien.ac.at::fb41e3c4-5638-4a31-ac16-1792da400b46" providerId="AD" clId="Web-{8FF043F9-AB2A-215C-1636-BD35ADC4439C}" dt="2025-10-01T11:37:47.342" v="8" actId="20577"/>
          <ac:spMkLst>
            <pc:docMk/>
            <pc:sldMk cId="4024586435" sldId="293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8FF043F9-AB2A-215C-1636-BD35ADC4439C}" dt="2025-10-01T11:38:50.423" v="15" actId="14100"/>
        <pc:sldMkLst>
          <pc:docMk/>
          <pc:sldMk cId="939792035" sldId="295"/>
        </pc:sldMkLst>
        <pc:spChg chg="mod">
          <ac:chgData name="Holzfeind, Katrin" userId="S::katrin.holzfeind@tuwien.ac.at::fb41e3c4-5638-4a31-ac16-1792da400b46" providerId="AD" clId="Web-{8FF043F9-AB2A-215C-1636-BD35ADC4439C}" dt="2025-10-01T11:38:17.656" v="10" actId="20577"/>
          <ac:spMkLst>
            <pc:docMk/>
            <pc:sldMk cId="939792035" sldId="295"/>
            <ac:spMk id="7" creationId="{00000000-0000-0000-0000-000000000000}"/>
          </ac:spMkLst>
        </pc:spChg>
        <pc:spChg chg="mod">
          <ac:chgData name="Holzfeind, Katrin" userId="S::katrin.holzfeind@tuwien.ac.at::fb41e3c4-5638-4a31-ac16-1792da400b46" providerId="AD" clId="Web-{8FF043F9-AB2A-215C-1636-BD35ADC4439C}" dt="2025-10-01T11:38:41.236" v="14" actId="1076"/>
          <ac:spMkLst>
            <pc:docMk/>
            <pc:sldMk cId="939792035" sldId="295"/>
            <ac:spMk id="15" creationId="{00000000-0000-0000-0000-000000000000}"/>
          </ac:spMkLst>
        </pc:spChg>
        <pc:picChg chg="mod">
          <ac:chgData name="Holzfeind, Katrin" userId="S::katrin.holzfeind@tuwien.ac.at::fb41e3c4-5638-4a31-ac16-1792da400b46" providerId="AD" clId="Web-{8FF043F9-AB2A-215C-1636-BD35ADC4439C}" dt="2025-10-01T11:38:50.423" v="15" actId="14100"/>
          <ac:picMkLst>
            <pc:docMk/>
            <pc:sldMk cId="939792035" sldId="295"/>
            <ac:picMk id="5" creationId="{00000000-0000-0000-0000-000000000000}"/>
          </ac:picMkLst>
        </pc:picChg>
      </pc:sldChg>
      <pc:sldChg chg="modSp">
        <pc:chgData name="Holzfeind, Katrin" userId="S::katrin.holzfeind@tuwien.ac.at::fb41e3c4-5638-4a31-ac16-1792da400b46" providerId="AD" clId="Web-{8FF043F9-AB2A-215C-1636-BD35ADC4439C}" dt="2025-10-01T11:31:24.842" v="6" actId="20577"/>
        <pc:sldMkLst>
          <pc:docMk/>
          <pc:sldMk cId="801097719" sldId="300"/>
        </pc:sldMkLst>
        <pc:spChg chg="mod">
          <ac:chgData name="Holzfeind, Katrin" userId="S::katrin.holzfeind@tuwien.ac.at::fb41e3c4-5638-4a31-ac16-1792da400b46" providerId="AD" clId="Web-{8FF043F9-AB2A-215C-1636-BD35ADC4439C}" dt="2025-10-01T11:31:24.842" v="6" actId="20577"/>
          <ac:spMkLst>
            <pc:docMk/>
            <pc:sldMk cId="801097719" sldId="300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8FF043F9-AB2A-215C-1636-BD35ADC4439C}" dt="2025-10-01T11:31:19.108" v="3" actId="20577"/>
        <pc:sldMkLst>
          <pc:docMk/>
          <pc:sldMk cId="881327793" sldId="304"/>
        </pc:sldMkLst>
        <pc:spChg chg="mod">
          <ac:chgData name="Holzfeind, Katrin" userId="S::katrin.holzfeind@tuwien.ac.at::fb41e3c4-5638-4a31-ac16-1792da400b46" providerId="AD" clId="Web-{8FF043F9-AB2A-215C-1636-BD35ADC4439C}" dt="2025-10-01T11:31:19.108" v="3" actId="20577"/>
          <ac:spMkLst>
            <pc:docMk/>
            <pc:sldMk cId="881327793" sldId="304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8FF043F9-AB2A-215C-1636-BD35ADC4439C}" dt="2025-10-01T11:31:12.311" v="1" actId="20577"/>
        <pc:sldMkLst>
          <pc:docMk/>
          <pc:sldMk cId="2134127259" sldId="305"/>
        </pc:sldMkLst>
        <pc:spChg chg="mod">
          <ac:chgData name="Holzfeind, Katrin" userId="S::katrin.holzfeind@tuwien.ac.at::fb41e3c4-5638-4a31-ac16-1792da400b46" providerId="AD" clId="Web-{8FF043F9-AB2A-215C-1636-BD35ADC4439C}" dt="2025-10-01T11:31:12.311" v="1" actId="20577"/>
          <ac:spMkLst>
            <pc:docMk/>
            <pc:sldMk cId="2134127259" sldId="305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8FF043F9-AB2A-215C-1636-BD35ADC4439C}" dt="2025-10-01T11:42:50.729" v="16" actId="20577"/>
        <pc:sldMkLst>
          <pc:docMk/>
          <pc:sldMk cId="3485241667" sldId="325"/>
        </pc:sldMkLst>
        <pc:spChg chg="mod">
          <ac:chgData name="Holzfeind, Katrin" userId="S::katrin.holzfeind@tuwien.ac.at::fb41e3c4-5638-4a31-ac16-1792da400b46" providerId="AD" clId="Web-{8FF043F9-AB2A-215C-1636-BD35ADC4439C}" dt="2025-10-01T11:42:50.729" v="16" actId="20577"/>
          <ac:spMkLst>
            <pc:docMk/>
            <pc:sldMk cId="3485241667" sldId="325"/>
            <ac:spMk id="6" creationId="{00000000-0000-0000-0000-000000000000}"/>
          </ac:spMkLst>
        </pc:spChg>
      </pc:sldChg>
    </pc:docChg>
  </pc:docChgLst>
  <pc:docChgLst>
    <pc:chgData name="Holzfeind, Katrin" userId="S::katrin.holzfeind@tuwien.ac.at::fb41e3c4-5638-4a31-ac16-1792da400b46" providerId="AD" clId="Web-{6B329F77-4B29-22EE-D687-B78D72FC1B07}"/>
    <pc:docChg chg="modSld">
      <pc:chgData name="Holzfeind, Katrin" userId="S::katrin.holzfeind@tuwien.ac.at::fb41e3c4-5638-4a31-ac16-1792da400b46" providerId="AD" clId="Web-{6B329F77-4B29-22EE-D687-B78D72FC1B07}" dt="2025-09-29T11:35:46.217" v="70" actId="20577"/>
      <pc:docMkLst>
        <pc:docMk/>
      </pc:docMkLst>
      <pc:sldChg chg="modSp">
        <pc:chgData name="Holzfeind, Katrin" userId="S::katrin.holzfeind@tuwien.ac.at::fb41e3c4-5638-4a31-ac16-1792da400b46" providerId="AD" clId="Web-{6B329F77-4B29-22EE-D687-B78D72FC1B07}" dt="2025-09-29T11:06:42.766" v="1" actId="20577"/>
        <pc:sldMkLst>
          <pc:docMk/>
          <pc:sldMk cId="4024586435" sldId="293"/>
        </pc:sldMkLst>
        <pc:spChg chg="mod">
          <ac:chgData name="Holzfeind, Katrin" userId="S::katrin.holzfeind@tuwien.ac.at::fb41e3c4-5638-4a31-ac16-1792da400b46" providerId="AD" clId="Web-{6B329F77-4B29-22EE-D687-B78D72FC1B07}" dt="2025-09-29T11:06:42.766" v="1" actId="20577"/>
          <ac:spMkLst>
            <pc:docMk/>
            <pc:sldMk cId="4024586435" sldId="293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6B329F77-4B29-22EE-D687-B78D72FC1B07}" dt="2025-09-29T11:07:19.938" v="3" actId="20577"/>
        <pc:sldMkLst>
          <pc:docMk/>
          <pc:sldMk cId="939792035" sldId="295"/>
        </pc:sldMkLst>
        <pc:spChg chg="mod">
          <ac:chgData name="Holzfeind, Katrin" userId="S::katrin.holzfeind@tuwien.ac.at::fb41e3c4-5638-4a31-ac16-1792da400b46" providerId="AD" clId="Web-{6B329F77-4B29-22EE-D687-B78D72FC1B07}" dt="2025-09-29T11:07:19.938" v="3" actId="20577"/>
          <ac:spMkLst>
            <pc:docMk/>
            <pc:sldMk cId="939792035" sldId="295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6B329F77-4B29-22EE-D687-B78D72FC1B07}" dt="2025-09-29T11:07:35.251" v="10" actId="20577"/>
        <pc:sldMkLst>
          <pc:docMk/>
          <pc:sldMk cId="1024338273" sldId="298"/>
        </pc:sldMkLst>
        <pc:spChg chg="mod">
          <ac:chgData name="Holzfeind, Katrin" userId="S::katrin.holzfeind@tuwien.ac.at::fb41e3c4-5638-4a31-ac16-1792da400b46" providerId="AD" clId="Web-{6B329F77-4B29-22EE-D687-B78D72FC1B07}" dt="2025-09-29T11:07:35.251" v="10" actId="20577"/>
          <ac:spMkLst>
            <pc:docMk/>
            <pc:sldMk cId="1024338273" sldId="298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6B329F77-4B29-22EE-D687-B78D72FC1B07}" dt="2025-09-29T11:07:49.861" v="16" actId="20577"/>
        <pc:sldMkLst>
          <pc:docMk/>
          <pc:sldMk cId="192005214" sldId="299"/>
        </pc:sldMkLst>
        <pc:spChg chg="mod">
          <ac:chgData name="Holzfeind, Katrin" userId="S::katrin.holzfeind@tuwien.ac.at::fb41e3c4-5638-4a31-ac16-1792da400b46" providerId="AD" clId="Web-{6B329F77-4B29-22EE-D687-B78D72FC1B07}" dt="2025-09-29T11:07:49.861" v="16" actId="20577"/>
          <ac:spMkLst>
            <pc:docMk/>
            <pc:sldMk cId="192005214" sldId="299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6B329F77-4B29-22EE-D687-B78D72FC1B07}" dt="2025-09-29T11:07:54.377" v="18" actId="20577"/>
        <pc:sldMkLst>
          <pc:docMk/>
          <pc:sldMk cId="801097719" sldId="300"/>
        </pc:sldMkLst>
        <pc:spChg chg="mod">
          <ac:chgData name="Holzfeind, Katrin" userId="S::katrin.holzfeind@tuwien.ac.at::fb41e3c4-5638-4a31-ac16-1792da400b46" providerId="AD" clId="Web-{6B329F77-4B29-22EE-D687-B78D72FC1B07}" dt="2025-09-29T11:07:54.377" v="18" actId="20577"/>
          <ac:spMkLst>
            <pc:docMk/>
            <pc:sldMk cId="801097719" sldId="300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6B329F77-4B29-22EE-D687-B78D72FC1B07}" dt="2025-09-29T11:07:30.032" v="7" actId="20577"/>
        <pc:sldMkLst>
          <pc:docMk/>
          <pc:sldMk cId="1071120812" sldId="302"/>
        </pc:sldMkLst>
        <pc:spChg chg="mod">
          <ac:chgData name="Holzfeind, Katrin" userId="S::katrin.holzfeind@tuwien.ac.at::fb41e3c4-5638-4a31-ac16-1792da400b46" providerId="AD" clId="Web-{6B329F77-4B29-22EE-D687-B78D72FC1B07}" dt="2025-09-29T11:07:30.032" v="7" actId="20577"/>
          <ac:spMkLst>
            <pc:docMk/>
            <pc:sldMk cId="1071120812" sldId="302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6B329F77-4B29-22EE-D687-B78D72FC1B07}" dt="2025-09-29T11:07:25.861" v="5" actId="20577"/>
        <pc:sldMkLst>
          <pc:docMk/>
          <pc:sldMk cId="929336951" sldId="303"/>
        </pc:sldMkLst>
        <pc:spChg chg="mod">
          <ac:chgData name="Holzfeind, Katrin" userId="S::katrin.holzfeind@tuwien.ac.at::fb41e3c4-5638-4a31-ac16-1792da400b46" providerId="AD" clId="Web-{6B329F77-4B29-22EE-D687-B78D72FC1B07}" dt="2025-09-29T11:07:25.861" v="5" actId="20577"/>
          <ac:spMkLst>
            <pc:docMk/>
            <pc:sldMk cId="929336951" sldId="303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6B329F77-4B29-22EE-D687-B78D72FC1B07}" dt="2025-09-29T11:07:57.767" v="20" actId="20577"/>
        <pc:sldMkLst>
          <pc:docMk/>
          <pc:sldMk cId="881327793" sldId="304"/>
        </pc:sldMkLst>
        <pc:spChg chg="mod">
          <ac:chgData name="Holzfeind, Katrin" userId="S::katrin.holzfeind@tuwien.ac.at::fb41e3c4-5638-4a31-ac16-1792da400b46" providerId="AD" clId="Web-{6B329F77-4B29-22EE-D687-B78D72FC1B07}" dt="2025-09-29T11:07:57.767" v="20" actId="20577"/>
          <ac:spMkLst>
            <pc:docMk/>
            <pc:sldMk cId="881327793" sldId="304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6B329F77-4B29-22EE-D687-B78D72FC1B07}" dt="2025-09-29T11:08:16.502" v="23" actId="20577"/>
        <pc:sldMkLst>
          <pc:docMk/>
          <pc:sldMk cId="2134127259" sldId="305"/>
        </pc:sldMkLst>
        <pc:spChg chg="mod">
          <ac:chgData name="Holzfeind, Katrin" userId="S::katrin.holzfeind@tuwien.ac.at::fb41e3c4-5638-4a31-ac16-1792da400b46" providerId="AD" clId="Web-{6B329F77-4B29-22EE-D687-B78D72FC1B07}" dt="2025-09-29T11:08:16.502" v="23" actId="20577"/>
          <ac:spMkLst>
            <pc:docMk/>
            <pc:sldMk cId="2134127259" sldId="305"/>
            <ac:spMk id="7" creationId="{00000000-0000-0000-0000-000000000000}"/>
          </ac:spMkLst>
        </pc:spChg>
      </pc:sldChg>
      <pc:sldChg chg="modSp">
        <pc:chgData name="Holzfeind, Katrin" userId="S::katrin.holzfeind@tuwien.ac.at::fb41e3c4-5638-4a31-ac16-1792da400b46" providerId="AD" clId="Web-{6B329F77-4B29-22EE-D687-B78D72FC1B07}" dt="2025-09-29T11:35:46.217" v="70" actId="20577"/>
        <pc:sldMkLst>
          <pc:docMk/>
          <pc:sldMk cId="602969503" sldId="322"/>
        </pc:sldMkLst>
        <pc:spChg chg="mod">
          <ac:chgData name="Holzfeind, Katrin" userId="S::katrin.holzfeind@tuwien.ac.at::fb41e3c4-5638-4a31-ac16-1792da400b46" providerId="AD" clId="Web-{6B329F77-4B29-22EE-D687-B78D72FC1B07}" dt="2025-09-29T11:35:46.217" v="70" actId="20577"/>
          <ac:spMkLst>
            <pc:docMk/>
            <pc:sldMk cId="602969503" sldId="322"/>
            <ac:spMk id="7" creationId="{00000000-0000-0000-0000-000000000000}"/>
          </ac:spMkLst>
        </pc:spChg>
      </pc:sldChg>
      <pc:sldChg chg="addSp delSp modSp addAnim delAnim modAnim">
        <pc:chgData name="Holzfeind, Katrin" userId="S::katrin.holzfeind@tuwien.ac.at::fb41e3c4-5638-4a31-ac16-1792da400b46" providerId="AD" clId="Web-{6B329F77-4B29-22EE-D687-B78D72FC1B07}" dt="2025-09-29T11:13:52.338" v="68"/>
        <pc:sldMkLst>
          <pc:docMk/>
          <pc:sldMk cId="3005636699" sldId="324"/>
        </pc:sldMkLst>
        <pc:picChg chg="add mod">
          <ac:chgData name="Holzfeind, Katrin" userId="S::katrin.holzfeind@tuwien.ac.at::fb41e3c4-5638-4a31-ac16-1792da400b46" providerId="AD" clId="Web-{6B329F77-4B29-22EE-D687-B78D72FC1B07}" dt="2025-09-29T11:13:06.976" v="64" actId="1076"/>
          <ac:picMkLst>
            <pc:docMk/>
            <pc:sldMk cId="3005636699" sldId="324"/>
            <ac:picMk id="11" creationId="{38739384-982C-4D6C-0BD9-FD56C1D8890C}"/>
          </ac:picMkLst>
        </pc:picChg>
        <pc:picChg chg="add mod">
          <ac:chgData name="Holzfeind, Katrin" userId="S::katrin.holzfeind@tuwien.ac.at::fb41e3c4-5638-4a31-ac16-1792da400b46" providerId="AD" clId="Web-{6B329F77-4B29-22EE-D687-B78D72FC1B07}" dt="2025-09-29T11:13:00.460" v="63" actId="1076"/>
          <ac:picMkLst>
            <pc:docMk/>
            <pc:sldMk cId="3005636699" sldId="324"/>
            <ac:picMk id="12" creationId="{46AC8BDB-7BFA-EEAA-C8CA-2BD321DB6F9F}"/>
          </ac:picMkLst>
        </pc:picChg>
      </pc:sldChg>
    </pc:docChg>
  </pc:docChgLst>
  <pc:docChgLst>
    <pc:chgData name="Holzfeind, Katrin" userId="S::katrin.holzfeind@tuwien.ac.at::fb41e3c4-5638-4a31-ac16-1792da400b46" providerId="AD" clId="Web-{B0182CB4-8988-1009-9E5F-498347B21E7B}"/>
    <pc:docChg chg="addSld delSld modSld sldOrd modSection">
      <pc:chgData name="Holzfeind, Katrin" userId="S::katrin.holzfeind@tuwien.ac.at::fb41e3c4-5638-4a31-ac16-1792da400b46" providerId="AD" clId="Web-{B0182CB4-8988-1009-9E5F-498347B21E7B}" dt="2025-09-29T10:07:30.689" v="144"/>
      <pc:docMkLst>
        <pc:docMk/>
      </pc:docMkLst>
      <pc:sldChg chg="modSp">
        <pc:chgData name="Holzfeind, Katrin" userId="S::katrin.holzfeind@tuwien.ac.at::fb41e3c4-5638-4a31-ac16-1792da400b46" providerId="AD" clId="Web-{B0182CB4-8988-1009-9E5F-498347B21E7B}" dt="2025-09-29T09:54:45.768" v="56" actId="14100"/>
        <pc:sldMkLst>
          <pc:docMk/>
          <pc:sldMk cId="4024586435" sldId="293"/>
        </pc:sldMkLst>
        <pc:picChg chg="mod">
          <ac:chgData name="Holzfeind, Katrin" userId="S::katrin.holzfeind@tuwien.ac.at::fb41e3c4-5638-4a31-ac16-1792da400b46" providerId="AD" clId="Web-{B0182CB4-8988-1009-9E5F-498347B21E7B}" dt="2025-09-29T09:54:45.768" v="56" actId="14100"/>
          <ac:picMkLst>
            <pc:docMk/>
            <pc:sldMk cId="4024586435" sldId="293"/>
            <ac:picMk id="9" creationId="{00000000-0000-0000-0000-000000000000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5:08.737" v="58"/>
        <pc:sldMkLst>
          <pc:docMk/>
          <pc:sldMk cId="939792035" sldId="295"/>
        </pc:sldMkLst>
        <pc:picChg chg="add">
          <ac:chgData name="Holzfeind, Katrin" userId="S::katrin.holzfeind@tuwien.ac.at::fb41e3c4-5638-4a31-ac16-1792da400b46" providerId="AD" clId="Web-{B0182CB4-8988-1009-9E5F-498347B21E7B}" dt="2025-09-29T09:55:08.737" v="58"/>
          <ac:picMkLst>
            <pc:docMk/>
            <pc:sldMk cId="939792035" sldId="295"/>
            <ac:picMk id="3" creationId="{94065587-0A26-225D-6520-A112E7C21456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5:13.049" v="60"/>
        <pc:sldMkLst>
          <pc:docMk/>
          <pc:sldMk cId="332737099" sldId="297"/>
        </pc:sldMkLst>
        <pc:picChg chg="add">
          <ac:chgData name="Holzfeind, Katrin" userId="S::katrin.holzfeind@tuwien.ac.at::fb41e3c4-5638-4a31-ac16-1792da400b46" providerId="AD" clId="Web-{B0182CB4-8988-1009-9E5F-498347B21E7B}" dt="2025-09-29T09:55:13.049" v="60"/>
          <ac:picMkLst>
            <pc:docMk/>
            <pc:sldMk cId="332737099" sldId="297"/>
            <ac:picMk id="3" creationId="{304C2B20-A486-A9D1-9C03-C1530CDB598A}"/>
          </ac:picMkLst>
        </pc:picChg>
      </pc:sldChg>
      <pc:sldChg chg="addSp delSp modSp">
        <pc:chgData name="Holzfeind, Katrin" userId="S::katrin.holzfeind@tuwien.ac.at::fb41e3c4-5638-4a31-ac16-1792da400b46" providerId="AD" clId="Web-{B0182CB4-8988-1009-9E5F-498347B21E7B}" dt="2025-09-29T10:02:43.835" v="133" actId="20577"/>
        <pc:sldMkLst>
          <pc:docMk/>
          <pc:sldMk cId="1024338273" sldId="298"/>
        </pc:sldMkLst>
        <pc:spChg chg="mod">
          <ac:chgData name="Holzfeind, Katrin" userId="S::katrin.holzfeind@tuwien.ac.at::fb41e3c4-5638-4a31-ac16-1792da400b46" providerId="AD" clId="Web-{B0182CB4-8988-1009-9E5F-498347B21E7B}" dt="2025-09-29T10:02:43.835" v="133" actId="20577"/>
          <ac:spMkLst>
            <pc:docMk/>
            <pc:sldMk cId="1024338273" sldId="298"/>
            <ac:spMk id="7" creationId="{00000000-0000-0000-0000-000000000000}"/>
          </ac:spMkLst>
        </pc:spChg>
        <pc:picChg chg="add">
          <ac:chgData name="Holzfeind, Katrin" userId="S::katrin.holzfeind@tuwien.ac.at::fb41e3c4-5638-4a31-ac16-1792da400b46" providerId="AD" clId="Web-{B0182CB4-8988-1009-9E5F-498347B21E7B}" dt="2025-09-29T09:55:24.377" v="66"/>
          <ac:picMkLst>
            <pc:docMk/>
            <pc:sldMk cId="1024338273" sldId="298"/>
            <ac:picMk id="3" creationId="{81E48F31-0E6D-83BA-E34F-62C30D5E4212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5:27.846" v="68"/>
        <pc:sldMkLst>
          <pc:docMk/>
          <pc:sldMk cId="192005214" sldId="299"/>
        </pc:sldMkLst>
        <pc:picChg chg="add">
          <ac:chgData name="Holzfeind, Katrin" userId="S::katrin.holzfeind@tuwien.ac.at::fb41e3c4-5638-4a31-ac16-1792da400b46" providerId="AD" clId="Web-{B0182CB4-8988-1009-9E5F-498347B21E7B}" dt="2025-09-29T09:55:27.846" v="68"/>
          <ac:picMkLst>
            <pc:docMk/>
            <pc:sldMk cId="192005214" sldId="299"/>
            <ac:picMk id="3" creationId="{7C8C63D1-E9C9-885A-F7C3-93E9A75C006A}"/>
          </ac:picMkLst>
        </pc:picChg>
      </pc:sldChg>
      <pc:sldChg chg="addSp delSp modSp">
        <pc:chgData name="Holzfeind, Katrin" userId="S::katrin.holzfeind@tuwien.ac.at::fb41e3c4-5638-4a31-ac16-1792da400b46" providerId="AD" clId="Web-{B0182CB4-8988-1009-9E5F-498347B21E7B}" dt="2025-09-29T09:55:31.502" v="70"/>
        <pc:sldMkLst>
          <pc:docMk/>
          <pc:sldMk cId="801097719" sldId="300"/>
        </pc:sldMkLst>
        <pc:picChg chg="add">
          <ac:chgData name="Holzfeind, Katrin" userId="S::katrin.holzfeind@tuwien.ac.at::fb41e3c4-5638-4a31-ac16-1792da400b46" providerId="AD" clId="Web-{B0182CB4-8988-1009-9E5F-498347B21E7B}" dt="2025-09-29T09:55:31.502" v="70"/>
          <ac:picMkLst>
            <pc:docMk/>
            <pc:sldMk cId="801097719" sldId="300"/>
            <ac:picMk id="3" creationId="{41397FAB-F53C-C50D-F2FF-F9B96D332757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5:20.815" v="64"/>
        <pc:sldMkLst>
          <pc:docMk/>
          <pc:sldMk cId="1071120812" sldId="302"/>
        </pc:sldMkLst>
        <pc:picChg chg="add">
          <ac:chgData name="Holzfeind, Katrin" userId="S::katrin.holzfeind@tuwien.ac.at::fb41e3c4-5638-4a31-ac16-1792da400b46" providerId="AD" clId="Web-{B0182CB4-8988-1009-9E5F-498347B21E7B}" dt="2025-09-29T09:55:20.815" v="64"/>
          <ac:picMkLst>
            <pc:docMk/>
            <pc:sldMk cId="1071120812" sldId="302"/>
            <ac:picMk id="3" creationId="{BE9B927C-0E98-7C29-3234-39E79BFB7BF1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5:17.049" v="62"/>
        <pc:sldMkLst>
          <pc:docMk/>
          <pc:sldMk cId="929336951" sldId="303"/>
        </pc:sldMkLst>
        <pc:picChg chg="add">
          <ac:chgData name="Holzfeind, Katrin" userId="S::katrin.holzfeind@tuwien.ac.at::fb41e3c4-5638-4a31-ac16-1792da400b46" providerId="AD" clId="Web-{B0182CB4-8988-1009-9E5F-498347B21E7B}" dt="2025-09-29T09:55:17.049" v="62"/>
          <ac:picMkLst>
            <pc:docMk/>
            <pc:sldMk cId="929336951" sldId="303"/>
            <ac:picMk id="3" creationId="{426ABF19-81B1-05D0-5936-17A8CF51F7C3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5:35.596" v="72"/>
        <pc:sldMkLst>
          <pc:docMk/>
          <pc:sldMk cId="881327793" sldId="304"/>
        </pc:sldMkLst>
        <pc:picChg chg="add">
          <ac:chgData name="Holzfeind, Katrin" userId="S::katrin.holzfeind@tuwien.ac.at::fb41e3c4-5638-4a31-ac16-1792da400b46" providerId="AD" clId="Web-{B0182CB4-8988-1009-9E5F-498347B21E7B}" dt="2025-09-29T09:55:35.596" v="72"/>
          <ac:picMkLst>
            <pc:docMk/>
            <pc:sldMk cId="881327793" sldId="304"/>
            <ac:picMk id="3" creationId="{473340CB-B526-76A9-5747-EACEB9B529A7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5:39.987" v="74"/>
        <pc:sldMkLst>
          <pc:docMk/>
          <pc:sldMk cId="2134127259" sldId="305"/>
        </pc:sldMkLst>
        <pc:picChg chg="add">
          <ac:chgData name="Holzfeind, Katrin" userId="S::katrin.holzfeind@tuwien.ac.at::fb41e3c4-5638-4a31-ac16-1792da400b46" providerId="AD" clId="Web-{B0182CB4-8988-1009-9E5F-498347B21E7B}" dt="2025-09-29T09:55:39.987" v="74"/>
          <ac:picMkLst>
            <pc:docMk/>
            <pc:sldMk cId="2134127259" sldId="305"/>
            <ac:picMk id="4" creationId="{0A0ACBB3-12FD-8A63-F971-BA5940FA00FE}"/>
          </ac:picMkLst>
        </pc:picChg>
      </pc:sldChg>
      <pc:sldChg chg="addSp delSp ord">
        <pc:chgData name="Holzfeind, Katrin" userId="S::katrin.holzfeind@tuwien.ac.at::fb41e3c4-5638-4a31-ac16-1792da400b46" providerId="AD" clId="Web-{B0182CB4-8988-1009-9E5F-498347B21E7B}" dt="2025-09-29T09:55:43.002" v="77"/>
        <pc:sldMkLst>
          <pc:docMk/>
          <pc:sldMk cId="3843316520" sldId="307"/>
        </pc:sldMkLst>
        <pc:picChg chg="add">
          <ac:chgData name="Holzfeind, Katrin" userId="S::katrin.holzfeind@tuwien.ac.at::fb41e3c4-5638-4a31-ac16-1792da400b46" providerId="AD" clId="Web-{B0182CB4-8988-1009-9E5F-498347B21E7B}" dt="2025-09-29T09:55:43.002" v="77"/>
          <ac:picMkLst>
            <pc:docMk/>
            <pc:sldMk cId="3843316520" sldId="307"/>
            <ac:picMk id="3" creationId="{D5B7C8C4-8D0F-E736-C27F-4BF667D27D05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5:47.221" v="79"/>
        <pc:sldMkLst>
          <pc:docMk/>
          <pc:sldMk cId="2886040691" sldId="308"/>
        </pc:sldMkLst>
        <pc:picChg chg="add">
          <ac:chgData name="Holzfeind, Katrin" userId="S::katrin.holzfeind@tuwien.ac.at::fb41e3c4-5638-4a31-ac16-1792da400b46" providerId="AD" clId="Web-{B0182CB4-8988-1009-9E5F-498347B21E7B}" dt="2025-09-29T09:55:47.221" v="79"/>
          <ac:picMkLst>
            <pc:docMk/>
            <pc:sldMk cId="2886040691" sldId="308"/>
            <ac:picMk id="3" creationId="{46DD23BB-FE97-4420-9E7A-B798AB9BC195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5:50.784" v="81"/>
        <pc:sldMkLst>
          <pc:docMk/>
          <pc:sldMk cId="1154646993" sldId="309"/>
        </pc:sldMkLst>
        <pc:picChg chg="add">
          <ac:chgData name="Holzfeind, Katrin" userId="S::katrin.holzfeind@tuwien.ac.at::fb41e3c4-5638-4a31-ac16-1792da400b46" providerId="AD" clId="Web-{B0182CB4-8988-1009-9E5F-498347B21E7B}" dt="2025-09-29T09:55:50.784" v="81"/>
          <ac:picMkLst>
            <pc:docMk/>
            <pc:sldMk cId="1154646993" sldId="309"/>
            <ac:picMk id="3" creationId="{26D1E291-BB4D-3F6E-AD7D-DF3F717E44A2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5:56.127" v="83"/>
        <pc:sldMkLst>
          <pc:docMk/>
          <pc:sldMk cId="1391650604" sldId="310"/>
        </pc:sldMkLst>
        <pc:picChg chg="add">
          <ac:chgData name="Holzfeind, Katrin" userId="S::katrin.holzfeind@tuwien.ac.at::fb41e3c4-5638-4a31-ac16-1792da400b46" providerId="AD" clId="Web-{B0182CB4-8988-1009-9E5F-498347B21E7B}" dt="2025-09-29T09:55:56.127" v="83"/>
          <ac:picMkLst>
            <pc:docMk/>
            <pc:sldMk cId="1391650604" sldId="310"/>
            <ac:picMk id="3" creationId="{1D3FE091-29EF-FF46-4C85-3FBAF3FCB45F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6:00.002" v="85"/>
        <pc:sldMkLst>
          <pc:docMk/>
          <pc:sldMk cId="2313702547" sldId="311"/>
        </pc:sldMkLst>
        <pc:picChg chg="add">
          <ac:chgData name="Holzfeind, Katrin" userId="S::katrin.holzfeind@tuwien.ac.at::fb41e3c4-5638-4a31-ac16-1792da400b46" providerId="AD" clId="Web-{B0182CB4-8988-1009-9E5F-498347B21E7B}" dt="2025-09-29T09:56:00.002" v="85"/>
          <ac:picMkLst>
            <pc:docMk/>
            <pc:sldMk cId="2313702547" sldId="311"/>
            <ac:picMk id="3" creationId="{12C79465-14BB-6F0A-9C9F-1D856C02319D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6:04.128" v="87"/>
        <pc:sldMkLst>
          <pc:docMk/>
          <pc:sldMk cId="1720362312" sldId="312"/>
        </pc:sldMkLst>
        <pc:picChg chg="add">
          <ac:chgData name="Holzfeind, Katrin" userId="S::katrin.holzfeind@tuwien.ac.at::fb41e3c4-5638-4a31-ac16-1792da400b46" providerId="AD" clId="Web-{B0182CB4-8988-1009-9E5F-498347B21E7B}" dt="2025-09-29T09:56:04.128" v="87"/>
          <ac:picMkLst>
            <pc:docMk/>
            <pc:sldMk cId="1720362312" sldId="312"/>
            <ac:picMk id="3" creationId="{D41D254D-36FF-709E-4335-653685F2E4C5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6:10.128" v="89"/>
        <pc:sldMkLst>
          <pc:docMk/>
          <pc:sldMk cId="2643910187" sldId="313"/>
        </pc:sldMkLst>
        <pc:picChg chg="add">
          <ac:chgData name="Holzfeind, Katrin" userId="S::katrin.holzfeind@tuwien.ac.at::fb41e3c4-5638-4a31-ac16-1792da400b46" providerId="AD" clId="Web-{B0182CB4-8988-1009-9E5F-498347B21E7B}" dt="2025-09-29T09:56:10.128" v="89"/>
          <ac:picMkLst>
            <pc:docMk/>
            <pc:sldMk cId="2643910187" sldId="313"/>
            <ac:picMk id="3" creationId="{457329EC-2D17-6DAE-AE2C-F32175952FE4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6:12.409" v="91"/>
        <pc:sldMkLst>
          <pc:docMk/>
          <pc:sldMk cId="1622992584" sldId="314"/>
        </pc:sldMkLst>
        <pc:picChg chg="add">
          <ac:chgData name="Holzfeind, Katrin" userId="S::katrin.holzfeind@tuwien.ac.at::fb41e3c4-5638-4a31-ac16-1792da400b46" providerId="AD" clId="Web-{B0182CB4-8988-1009-9E5F-498347B21E7B}" dt="2025-09-29T09:56:12.409" v="91"/>
          <ac:picMkLst>
            <pc:docMk/>
            <pc:sldMk cId="1622992584" sldId="314"/>
            <ac:picMk id="3" creationId="{B9D5E4CB-CC51-B2C3-627D-B1D7098A5331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6:18.456" v="93"/>
        <pc:sldMkLst>
          <pc:docMk/>
          <pc:sldMk cId="4124225697" sldId="315"/>
        </pc:sldMkLst>
        <pc:picChg chg="add">
          <ac:chgData name="Holzfeind, Katrin" userId="S::katrin.holzfeind@tuwien.ac.at::fb41e3c4-5638-4a31-ac16-1792da400b46" providerId="AD" clId="Web-{B0182CB4-8988-1009-9E5F-498347B21E7B}" dt="2025-09-29T09:56:18.456" v="93"/>
          <ac:picMkLst>
            <pc:docMk/>
            <pc:sldMk cId="4124225697" sldId="315"/>
            <ac:picMk id="3" creationId="{C89300A2-F3C0-B613-9BEF-6B1E1308282B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6:21.846" v="95"/>
        <pc:sldMkLst>
          <pc:docMk/>
          <pc:sldMk cId="395657412" sldId="316"/>
        </pc:sldMkLst>
        <pc:picChg chg="add">
          <ac:chgData name="Holzfeind, Katrin" userId="S::katrin.holzfeind@tuwien.ac.at::fb41e3c4-5638-4a31-ac16-1792da400b46" providerId="AD" clId="Web-{B0182CB4-8988-1009-9E5F-498347B21E7B}" dt="2025-09-29T09:56:21.846" v="95"/>
          <ac:picMkLst>
            <pc:docMk/>
            <pc:sldMk cId="395657412" sldId="316"/>
            <ac:picMk id="3" creationId="{3259D722-A81E-0F0D-3A18-21BBD0775006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6:26.018" v="97"/>
        <pc:sldMkLst>
          <pc:docMk/>
          <pc:sldMk cId="3962340620" sldId="317"/>
        </pc:sldMkLst>
        <pc:picChg chg="add">
          <ac:chgData name="Holzfeind, Katrin" userId="S::katrin.holzfeind@tuwien.ac.at::fb41e3c4-5638-4a31-ac16-1792da400b46" providerId="AD" clId="Web-{B0182CB4-8988-1009-9E5F-498347B21E7B}" dt="2025-09-29T09:56:26.018" v="97"/>
          <ac:picMkLst>
            <pc:docMk/>
            <pc:sldMk cId="3962340620" sldId="317"/>
            <ac:picMk id="3" creationId="{5A80148C-2476-1497-CF9E-9005DCE3C1C6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6:30.346" v="99"/>
        <pc:sldMkLst>
          <pc:docMk/>
          <pc:sldMk cId="1200934302" sldId="318"/>
        </pc:sldMkLst>
        <pc:picChg chg="add">
          <ac:chgData name="Holzfeind, Katrin" userId="S::katrin.holzfeind@tuwien.ac.at::fb41e3c4-5638-4a31-ac16-1792da400b46" providerId="AD" clId="Web-{B0182CB4-8988-1009-9E5F-498347B21E7B}" dt="2025-09-29T09:56:30.346" v="99"/>
          <ac:picMkLst>
            <pc:docMk/>
            <pc:sldMk cId="1200934302" sldId="318"/>
            <ac:picMk id="4" creationId="{640CF329-9CD6-FBDE-D4B4-4F60CD6CECA9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6:35.190" v="101"/>
        <pc:sldMkLst>
          <pc:docMk/>
          <pc:sldMk cId="2476193772" sldId="319"/>
        </pc:sldMkLst>
        <pc:picChg chg="add">
          <ac:chgData name="Holzfeind, Katrin" userId="S::katrin.holzfeind@tuwien.ac.at::fb41e3c4-5638-4a31-ac16-1792da400b46" providerId="AD" clId="Web-{B0182CB4-8988-1009-9E5F-498347B21E7B}" dt="2025-09-29T09:56:35.190" v="101"/>
          <ac:picMkLst>
            <pc:docMk/>
            <pc:sldMk cId="2476193772" sldId="319"/>
            <ac:picMk id="3" creationId="{6994B5B3-CA27-641B-8F3A-0A2EE6089866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6:42.972" v="105"/>
        <pc:sldMkLst>
          <pc:docMk/>
          <pc:sldMk cId="179924609" sldId="320"/>
        </pc:sldMkLst>
        <pc:picChg chg="add">
          <ac:chgData name="Holzfeind, Katrin" userId="S::katrin.holzfeind@tuwien.ac.at::fb41e3c4-5638-4a31-ac16-1792da400b46" providerId="AD" clId="Web-{B0182CB4-8988-1009-9E5F-498347B21E7B}" dt="2025-09-29T09:56:39.081" v="103"/>
          <ac:picMkLst>
            <pc:docMk/>
            <pc:sldMk cId="179924609" sldId="320"/>
            <ac:picMk id="3" creationId="{72BE59B1-0AA0-D0E3-8B6B-F821BFAFBDA7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6:48.050" v="107"/>
        <pc:sldMkLst>
          <pc:docMk/>
          <pc:sldMk cId="1840700409" sldId="321"/>
        </pc:sldMkLst>
        <pc:picChg chg="add">
          <ac:chgData name="Holzfeind, Katrin" userId="S::katrin.holzfeind@tuwien.ac.at::fb41e3c4-5638-4a31-ac16-1792da400b46" providerId="AD" clId="Web-{B0182CB4-8988-1009-9E5F-498347B21E7B}" dt="2025-09-29T09:56:48.050" v="107"/>
          <ac:picMkLst>
            <pc:docMk/>
            <pc:sldMk cId="1840700409" sldId="321"/>
            <ac:picMk id="3" creationId="{52B283ED-5BBD-23CA-E9CA-500B5AD736F4}"/>
          </ac:picMkLst>
        </pc:picChg>
      </pc:sldChg>
      <pc:sldChg chg="addSp delSp modSp addAnim delAnim modAnim">
        <pc:chgData name="Holzfeind, Katrin" userId="S::katrin.holzfeind@tuwien.ac.at::fb41e3c4-5638-4a31-ac16-1792da400b46" providerId="AD" clId="Web-{B0182CB4-8988-1009-9E5F-498347B21E7B}" dt="2025-09-29T10:07:30.689" v="144"/>
        <pc:sldMkLst>
          <pc:docMk/>
          <pc:sldMk cId="602969503" sldId="322"/>
        </pc:sldMkLst>
        <pc:spChg chg="mod">
          <ac:chgData name="Holzfeind, Katrin" userId="S::katrin.holzfeind@tuwien.ac.at::fb41e3c4-5638-4a31-ac16-1792da400b46" providerId="AD" clId="Web-{B0182CB4-8988-1009-9E5F-498347B21E7B}" dt="2025-09-29T09:57:04.379" v="112" actId="20577"/>
          <ac:spMkLst>
            <pc:docMk/>
            <pc:sldMk cId="602969503" sldId="322"/>
            <ac:spMk id="6" creationId="{00000000-0000-0000-0000-000000000000}"/>
          </ac:spMkLst>
        </pc:spChg>
        <pc:picChg chg="add">
          <ac:chgData name="Holzfeind, Katrin" userId="S::katrin.holzfeind@tuwien.ac.at::fb41e3c4-5638-4a31-ac16-1792da400b46" providerId="AD" clId="Web-{B0182CB4-8988-1009-9E5F-498347B21E7B}" dt="2025-09-29T09:57:15.959" v="116"/>
          <ac:picMkLst>
            <pc:docMk/>
            <pc:sldMk cId="602969503" sldId="322"/>
            <ac:picMk id="11" creationId="{A581BF04-4CF0-2521-350A-1D54F01F89B9}"/>
          </ac:picMkLst>
        </pc:picChg>
        <pc:picChg chg="add mod">
          <ac:chgData name="Holzfeind, Katrin" userId="S::katrin.holzfeind@tuwien.ac.at::fb41e3c4-5638-4a31-ac16-1792da400b46" providerId="AD" clId="Web-{B0182CB4-8988-1009-9E5F-498347B21E7B}" dt="2025-09-29T10:01:39.253" v="127" actId="14100"/>
          <ac:picMkLst>
            <pc:docMk/>
            <pc:sldMk cId="602969503" sldId="322"/>
            <ac:picMk id="12" creationId="{92DBFBDA-3A42-B69D-B6B1-D0FA6FD262EA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7:11.584" v="114"/>
        <pc:sldMkLst>
          <pc:docMk/>
          <pc:sldMk cId="1315419881" sldId="323"/>
        </pc:sldMkLst>
        <pc:picChg chg="add">
          <ac:chgData name="Holzfeind, Katrin" userId="S::katrin.holzfeind@tuwien.ac.at::fb41e3c4-5638-4a31-ac16-1792da400b46" providerId="AD" clId="Web-{B0182CB4-8988-1009-9E5F-498347B21E7B}" dt="2025-09-29T09:57:11.584" v="114"/>
          <ac:picMkLst>
            <pc:docMk/>
            <pc:sldMk cId="1315419881" sldId="323"/>
            <ac:picMk id="3" creationId="{C3A4A814-68BE-FFEC-C690-03A3C0B9F015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7:21.757" v="118"/>
        <pc:sldMkLst>
          <pc:docMk/>
          <pc:sldMk cId="3005636699" sldId="324"/>
        </pc:sldMkLst>
        <pc:picChg chg="add">
          <ac:chgData name="Holzfeind, Katrin" userId="S::katrin.holzfeind@tuwien.ac.at::fb41e3c4-5638-4a31-ac16-1792da400b46" providerId="AD" clId="Web-{B0182CB4-8988-1009-9E5F-498347B21E7B}" dt="2025-09-29T09:57:21.757" v="118"/>
          <ac:picMkLst>
            <pc:docMk/>
            <pc:sldMk cId="3005636699" sldId="324"/>
            <ac:picMk id="3" creationId="{F3526C0C-9CFA-9ED3-1CCB-83008549406F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7:26.102" v="120"/>
        <pc:sldMkLst>
          <pc:docMk/>
          <pc:sldMk cId="3485241667" sldId="325"/>
        </pc:sldMkLst>
        <pc:picChg chg="add">
          <ac:chgData name="Holzfeind, Katrin" userId="S::katrin.holzfeind@tuwien.ac.at::fb41e3c4-5638-4a31-ac16-1792da400b46" providerId="AD" clId="Web-{B0182CB4-8988-1009-9E5F-498347B21E7B}" dt="2025-09-29T09:57:26.102" v="120"/>
          <ac:picMkLst>
            <pc:docMk/>
            <pc:sldMk cId="3485241667" sldId="325"/>
            <ac:picMk id="4" creationId="{6FD699E3-28D7-8BDA-6C35-F3085C43E695}"/>
          </ac:picMkLst>
        </pc:picChg>
      </pc:sldChg>
      <pc:sldChg chg="addSp delSp">
        <pc:chgData name="Holzfeind, Katrin" userId="S::katrin.holzfeind@tuwien.ac.at::fb41e3c4-5638-4a31-ac16-1792da400b46" providerId="AD" clId="Web-{B0182CB4-8988-1009-9E5F-498347B21E7B}" dt="2025-09-29T09:57:29.805" v="122"/>
        <pc:sldMkLst>
          <pc:docMk/>
          <pc:sldMk cId="3850908788" sldId="327"/>
        </pc:sldMkLst>
        <pc:picChg chg="add">
          <ac:chgData name="Holzfeind, Katrin" userId="S::katrin.holzfeind@tuwien.ac.at::fb41e3c4-5638-4a31-ac16-1792da400b46" providerId="AD" clId="Web-{B0182CB4-8988-1009-9E5F-498347B21E7B}" dt="2025-09-29T09:57:29.805" v="122"/>
          <ac:picMkLst>
            <pc:docMk/>
            <pc:sldMk cId="3850908788" sldId="327"/>
            <ac:picMk id="3" creationId="{E060F517-CE14-35CB-1B56-A93C054A9062}"/>
          </ac:picMkLst>
        </pc:picChg>
      </pc:sldChg>
      <pc:sldChg chg="addSp delSp modSp add mod replId chgLayout">
        <pc:chgData name="Holzfeind, Katrin" userId="S::katrin.holzfeind@tuwien.ac.at::fb41e3c4-5638-4a31-ac16-1792da400b46" providerId="AD" clId="Web-{B0182CB4-8988-1009-9E5F-498347B21E7B}" dt="2025-09-29T09:54:36.018" v="55" actId="14100"/>
        <pc:sldMkLst>
          <pc:docMk/>
          <pc:sldMk cId="3956155113" sldId="328"/>
        </pc:sldMkLst>
        <pc:spChg chg="mod ord">
          <ac:chgData name="Holzfeind, Katrin" userId="S::katrin.holzfeind@tuwien.ac.at::fb41e3c4-5638-4a31-ac16-1792da400b46" providerId="AD" clId="Web-{B0182CB4-8988-1009-9E5F-498347B21E7B}" dt="2025-09-29T09:44:29.027" v="5"/>
          <ac:spMkLst>
            <pc:docMk/>
            <pc:sldMk cId="3956155113" sldId="328"/>
            <ac:spMk id="2" creationId="{9D51604F-3856-3DF5-A872-6085FBB02470}"/>
          </ac:spMkLst>
        </pc:spChg>
        <pc:spChg chg="mod ord">
          <ac:chgData name="Holzfeind, Katrin" userId="S::katrin.holzfeind@tuwien.ac.at::fb41e3c4-5638-4a31-ac16-1792da400b46" providerId="AD" clId="Web-{B0182CB4-8988-1009-9E5F-498347B21E7B}" dt="2025-09-29T09:44:29.027" v="5"/>
          <ac:spMkLst>
            <pc:docMk/>
            <pc:sldMk cId="3956155113" sldId="328"/>
            <ac:spMk id="3" creationId="{CF7E26C4-F751-C2E9-2080-F03E3D0D4BA8}"/>
          </ac:spMkLst>
        </pc:spChg>
        <pc:spChg chg="mod ord">
          <ac:chgData name="Holzfeind, Katrin" userId="S::katrin.holzfeind@tuwien.ac.at::fb41e3c4-5638-4a31-ac16-1792da400b46" providerId="AD" clId="Web-{B0182CB4-8988-1009-9E5F-498347B21E7B}" dt="2025-09-29T09:44:29.027" v="5"/>
          <ac:spMkLst>
            <pc:docMk/>
            <pc:sldMk cId="3956155113" sldId="328"/>
            <ac:spMk id="4" creationId="{26076650-4BB2-C496-CF8C-A2858A61C1E1}"/>
          </ac:spMkLst>
        </pc:spChg>
        <pc:picChg chg="add mod ord">
          <ac:chgData name="Holzfeind, Katrin" userId="S::katrin.holzfeind@tuwien.ac.at::fb41e3c4-5638-4a31-ac16-1792da400b46" providerId="AD" clId="Web-{B0182CB4-8988-1009-9E5F-498347B21E7B}" dt="2025-09-29T09:51:27.032" v="23"/>
          <ac:picMkLst>
            <pc:docMk/>
            <pc:sldMk cId="3956155113" sldId="328"/>
            <ac:picMk id="10" creationId="{F7CA1436-7F76-DB7A-DEAA-5E87E8017425}"/>
          </ac:picMkLst>
        </pc:picChg>
        <pc:picChg chg="add del mod">
          <ac:chgData name="Holzfeind, Katrin" userId="S::katrin.holzfeind@tuwien.ac.at::fb41e3c4-5638-4a31-ac16-1792da400b46" providerId="AD" clId="Web-{B0182CB4-8988-1009-9E5F-498347B21E7B}" dt="2025-09-29T09:52:52.704" v="45"/>
          <ac:picMkLst>
            <pc:docMk/>
            <pc:sldMk cId="3956155113" sldId="328"/>
            <ac:picMk id="12" creationId="{5791C1DA-E123-4B29-81AB-FE10C6830CCC}"/>
          </ac:picMkLst>
        </pc:picChg>
        <pc:picChg chg="add mod">
          <ac:chgData name="Holzfeind, Katrin" userId="S::katrin.holzfeind@tuwien.ac.at::fb41e3c4-5638-4a31-ac16-1792da400b46" providerId="AD" clId="Web-{B0182CB4-8988-1009-9E5F-498347B21E7B}" dt="2025-09-29T09:54:36.018" v="55" actId="14100"/>
          <ac:picMkLst>
            <pc:docMk/>
            <pc:sldMk cId="3956155113" sldId="328"/>
            <ac:picMk id="14" creationId="{6C7400D8-AA88-EF3A-4FB5-A972A442DEC1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2" Type="http://schemas.openxmlformats.org/officeDocument/2006/relationships/tags" Target="../tags/tag173.xml"/><Relationship Id="rId1" Type="http://schemas.openxmlformats.org/officeDocument/2006/relationships/theme" Target="../theme/theme3.xml"/><Relationship Id="rId5" Type="http://schemas.openxmlformats.org/officeDocument/2006/relationships/tags" Target="../tags/tag176.xml"/><Relationship Id="rId4" Type="http://schemas.openxmlformats.org/officeDocument/2006/relationships/tags" Target="../tags/tag17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B6B62FD-DEA5-4016-A686-92BD436E4AF0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>
              <a:latin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9D031BE-D109-46DC-97CA-86C8CC80DEF3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D92F50-EEFB-414C-A5B9-E53AB6640962}" type="datetimeFigureOut">
              <a:rPr lang="de-AT" smtClean="0">
                <a:latin typeface="Arial" panose="020B0604020202020204" pitchFamily="34" charset="0"/>
              </a:rPr>
              <a:t>06.10.2025</a:t>
            </a:fld>
            <a:endParaRPr lang="de-AT">
              <a:latin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3E70E89-9D63-4AE7-AA10-359BADF98E1C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>
              <a:latin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D848377-D64A-4E24-83A8-537299BF9731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B8C977-CDE1-48A9-8E7D-2B9A79EDCF35}" type="slidenum">
              <a:rPr lang="de-AT" smtClean="0">
                <a:latin typeface="Arial" panose="020B0604020202020204" pitchFamily="34" charset="0"/>
              </a:rPr>
              <a:t>‹#›</a:t>
            </a:fld>
            <a:endParaRPr lang="de-AT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379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heme" Target="../theme/theme2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4" Type="http://schemas.openxmlformats.org/officeDocument/2006/relationships/tags" Target="../tags/tag16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116C0E1-FA71-4E92-9BA0-377972D4F09A}" type="datetimeFigureOut">
              <a:rPr lang="de-AT" smtClean="0"/>
              <a:pPr/>
              <a:t>06.10.2025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8BEB3B-C5EA-45F3-97F0-E17E2A187F46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905199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image" Target="../media/image2.svg"/><Relationship Id="rId5" Type="http://schemas.openxmlformats.org/officeDocument/2006/relationships/tags" Target="../tags/tag59.xml"/><Relationship Id="rId10" Type="http://schemas.openxmlformats.org/officeDocument/2006/relationships/image" Target="../media/image1.png"/><Relationship Id="rId4" Type="http://schemas.openxmlformats.org/officeDocument/2006/relationships/tags" Target="../tags/tag58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65.xml"/><Relationship Id="rId7" Type="http://schemas.openxmlformats.org/officeDocument/2006/relationships/image" Target="../media/image1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0.xml"/><Relationship Id="rId7" Type="http://schemas.openxmlformats.org/officeDocument/2006/relationships/image" Target="../media/image1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2.sv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9.xml"/><Relationship Id="rId7" Type="http://schemas.openxmlformats.org/officeDocument/2006/relationships/image" Target="../media/image1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image" Target="../media/image5.svg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7.sv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7.sv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0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4" Type="http://schemas.openxmlformats.org/officeDocument/2006/relationships/tags" Target="../tags/tag114.xml"/><Relationship Id="rId9" Type="http://schemas.openxmlformats.org/officeDocument/2006/relationships/image" Target="../media/image7.sv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Relationship Id="rId9" Type="http://schemas.openxmlformats.org/officeDocument/2006/relationships/image" Target="../media/image7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5" Type="http://schemas.openxmlformats.org/officeDocument/2006/relationships/tags" Target="../tags/tag127.xml"/><Relationship Id="rId10" Type="http://schemas.openxmlformats.org/officeDocument/2006/relationships/image" Target="../media/image7.svg"/><Relationship Id="rId4" Type="http://schemas.openxmlformats.org/officeDocument/2006/relationships/tags" Target="../tags/tag126.xml"/><Relationship Id="rId9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10" Type="http://schemas.openxmlformats.org/officeDocument/2006/relationships/image" Target="../media/image7.svg"/><Relationship Id="rId4" Type="http://schemas.openxmlformats.org/officeDocument/2006/relationships/tags" Target="../tags/tag133.xml"/><Relationship Id="rId9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7.svg"/><Relationship Id="rId5" Type="http://schemas.openxmlformats.org/officeDocument/2006/relationships/tags" Target="../tags/tag141.xml"/><Relationship Id="rId10" Type="http://schemas.openxmlformats.org/officeDocument/2006/relationships/image" Target="../media/image6.png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47.xml"/><Relationship Id="rId7" Type="http://schemas.openxmlformats.org/officeDocument/2006/relationships/image" Target="../media/image6.pn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9.xml"/><Relationship Id="rId4" Type="http://schemas.openxmlformats.org/officeDocument/2006/relationships/tags" Target="../tags/tag148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52.xml"/><Relationship Id="rId7" Type="http://schemas.openxmlformats.org/officeDocument/2006/relationships/image" Target="../media/image6.png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4.xml"/><Relationship Id="rId4" Type="http://schemas.openxmlformats.org/officeDocument/2006/relationships/tags" Target="../tags/tag15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image" Target="../media/image7.svg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8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61.xml"/><Relationship Id="rId7" Type="http://schemas.openxmlformats.org/officeDocument/2006/relationships/image" Target="../media/image6.png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3.xml"/><Relationship Id="rId4" Type="http://schemas.openxmlformats.org/officeDocument/2006/relationships/tags" Target="../tags/tag16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2.svg"/><Relationship Id="rId4" Type="http://schemas.openxmlformats.org/officeDocument/2006/relationships/tags" Target="../tags/tag43.xml"/><Relationship Id="rId9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image" Target="../media/image2.svg"/><Relationship Id="rId5" Type="http://schemas.openxmlformats.org/officeDocument/2006/relationships/tags" Target="../tags/tag51.xml"/><Relationship Id="rId10" Type="http://schemas.openxmlformats.org/officeDocument/2006/relationships/image" Target="../media/image1.png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4F515961-5FE0-48A5-A350-239B3180909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577388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577388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/>
              <a:t>Untertitel (Datum, Ort, Name, ...)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7A5D3C4D-4D39-4C8C-BFBF-C7829831878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10395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99E51E9-DC66-419A-A177-526841A9308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B3A894-6582-4131-8E80-1DD0D8D21934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2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  <p:sp>
        <p:nvSpPr>
          <p:cNvPr id="44" name="Titel 43">
            <a:extLst>
              <a:ext uri="{FF2B5EF4-FFF2-40B4-BE49-F238E27FC236}">
                <a16:creationId xmlns:a16="http://schemas.microsoft.com/office/drawing/2014/main" id="{F963C0A1-5171-448F-A988-DE64FAB960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4"/>
            </p:custDataLst>
          </p:nvPr>
        </p:nvSpPr>
        <p:spPr>
          <a:xfrm>
            <a:off x="1308100" y="2628900"/>
            <a:ext cx="4464051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F036BFB8-13F4-45C1-A152-0C4BA80C11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6"/>
            </p:custDataLst>
          </p:nvPr>
        </p:nvSpPr>
        <p:spPr bwMode="gray">
          <a:xfrm>
            <a:off x="6419849" y="1549401"/>
            <a:ext cx="4464000" cy="828674"/>
          </a:xfrm>
        </p:spPr>
        <p:txBody>
          <a:bodyPr anchor="b"/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/>
              <a:t>Titel kur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7"/>
            </p:custDataLst>
          </p:nvPr>
        </p:nvSpPr>
        <p:spPr>
          <a:xfrm>
            <a:off x="6419849" y="2628900"/>
            <a:ext cx="4464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EDFB22B7-5CFA-40C9-876A-2EEB5D5B932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645802-C8CA-46DF-993F-A4B3CBA5C15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</p:spTree>
    <p:extLst>
      <p:ext uri="{BB962C8B-B14F-4D97-AF65-F5344CB8AC3E}">
        <p14:creationId xmlns:p14="http://schemas.microsoft.com/office/powerpoint/2010/main" val="2139903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6F6E8048-A8A6-40D6-9F76-8C1F76FD6D3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3818965-B1EA-4BB7-B603-FBD6BFB823F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4"/>
            <a:ext cx="5292725" cy="52578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D7E7DD6B-7A49-46D6-9B77-F3D80A663AC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98FEE5-0E49-40F0-A7F3-0900FB3D071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03C87CB-D750-4CCA-B59C-9E8CA49429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722140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8255916F-C74A-4F99-B096-58397C68C15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3A681F0-FCE5-4B65-9CC1-B94D7109D7C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2455862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3C366575-A0E1-435D-B2F7-A633BB9BA970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39015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AF7C3B0-C23A-4FDF-A6AF-F0A70F5867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F37747-6725-4A2E-9A78-7D0CB46DB2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4301386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01CD9B7C-68E1-417F-A205-77F00F0A1E1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257E20E4-5915-449A-9EAF-02177CB5A4F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7069" y="2628900"/>
            <a:ext cx="10405506" cy="31035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de-AT"/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77C37F3-41FF-4F9C-879D-61D49123C46A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1040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144BF2-C4EA-4914-B417-C39C6394482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E67494-E528-4F3B-BF5C-BED8288A09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927438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A3C39FBE-5949-4D36-BF84-EE4617A28BE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C00A8C0-0C94-4283-B6B6-E3602A0E62F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1209674"/>
            <a:ext cx="5292725" cy="45148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de-AT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C2ADED94-8356-4555-85DB-EBCA122F7F7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AF8834E-16B1-4EE9-8DF7-FA1E2F51D0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76AD5D1-50CA-4899-9199-1E0698A407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8199196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8" name="Medienplatzhalter 7">
            <a:extLst>
              <a:ext uri="{FF2B5EF4-FFF2-40B4-BE49-F238E27FC236}">
                <a16:creationId xmlns:a16="http://schemas.microsoft.com/office/drawing/2014/main" id="{9DB15156-AFEA-490A-9AB3-282980DCE6BB}"/>
              </a:ext>
            </a:extLst>
          </p:cNvPr>
          <p:cNvSpPr>
            <a:spLocks noGrp="1"/>
          </p:cNvSpPr>
          <p:nvPr>
            <p:ph type="media" sz="quarter" idx="11"/>
            <p:custDataLst>
              <p:tags r:id="rId2"/>
            </p:custDataLst>
          </p:nvPr>
        </p:nvSpPr>
        <p:spPr>
          <a:xfrm>
            <a:off x="838200" y="860793"/>
            <a:ext cx="10454640" cy="517985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AT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23AC317-B486-4CC7-B5B5-23C174489D1B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6422935" y="6082240"/>
            <a:ext cx="4869905" cy="100013"/>
          </a:xfrm>
        </p:spPr>
        <p:txBody>
          <a:bodyPr anchor="b"/>
          <a:lstStyle>
            <a:lvl1pPr marL="0" indent="0">
              <a:buNone/>
              <a:defRPr sz="80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7309323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etc.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1209676"/>
            <a:ext cx="9577388" cy="3099778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B6E97C2-5489-4CD9-873E-EF97AACF8A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2525" y="4503737"/>
            <a:ext cx="4652963" cy="573088"/>
          </a:xfrm>
        </p:spPr>
        <p:txBody>
          <a:bodyPr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 sz="1600">
                <a:solidFill>
                  <a:schemeClr val="bg1"/>
                </a:solidFill>
              </a:defRPr>
            </a:lvl2pPr>
            <a:lvl3pPr algn="r">
              <a:defRPr sz="1400">
                <a:solidFill>
                  <a:schemeClr val="bg1"/>
                </a:solidFill>
              </a:defRPr>
            </a:lvl3pPr>
            <a:lvl4pPr algn="r">
              <a:defRPr sz="1400">
                <a:solidFill>
                  <a:schemeClr val="bg1"/>
                </a:solidFill>
              </a:defRPr>
            </a:lvl4pPr>
            <a:lvl5pPr algn="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956218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88835D5-7CB1-4717-895C-F6ACBDD1151E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>
          <a:xfrm>
            <a:off x="0" y="0"/>
            <a:ext cx="12192000" cy="60633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7" name="Textplatzhalter 42">
            <a:extLst>
              <a:ext uri="{FF2B5EF4-FFF2-40B4-BE49-F238E27FC236}">
                <a16:creationId xmlns:a16="http://schemas.microsoft.com/office/drawing/2014/main" id="{B15E41F2-9F0D-4C90-B6D3-88903F9FBD2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212252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FA616A29-9F54-4E04-A2B1-9CBD31AC30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/>
              <a:t>Sublogo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288464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288464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/>
              <a:t>Untertitel (Datum, Ort, Name, ...)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11F96F86-EC1A-4E1A-B16C-1B22A6CC3DC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603973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und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C768571-8F27-4801-BE51-98B18A003B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sp>
        <p:nvSpPr>
          <p:cNvPr id="10" name="Inhaltsplatzhalter 50">
            <a:extLst>
              <a:ext uri="{FF2B5EF4-FFF2-40B4-BE49-F238E27FC236}">
                <a16:creationId xmlns:a16="http://schemas.microsoft.com/office/drawing/2014/main" id="{36BC36E0-5BB3-4FF7-91BE-F08527FA05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2"/>
            </p:custDataLst>
          </p:nvPr>
        </p:nvSpPr>
        <p:spPr bwMode="gray"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/>
              <a:t>Sublogo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18F59B5-2786-498C-82D3-0A9C1CD89FA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61963" y="4301639"/>
            <a:ext cx="10134599" cy="11768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/>
              <a:t>Titel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F336A329-ED2F-4460-87B8-2E6D5936410D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/>
              <a:t>Untertitel (Datum, Ort, Name, …)</a:t>
            </a:r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A5A954F1-45CA-4DB2-A03D-24CC2A505886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/>
              <a:t>© Copyright-Info, Quelle, …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4669611-45BF-4E01-AE99-8C851B6E8EC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4004018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BB5D645-0874-4ED8-A93C-F4A358067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pic>
        <p:nvPicPr>
          <p:cNvPr id="50" name="Grafik 49" descr="Logo der Technischen Universität Wien">
            <a:extLst>
              <a:ext uri="{FF2B5EF4-FFF2-40B4-BE49-F238E27FC236}">
                <a16:creationId xmlns:a16="http://schemas.microsoft.com/office/drawing/2014/main" id="{B9752043-E0A7-4A49-ABCE-FA89B17A8BB8}"/>
              </a:ext>
            </a:extLst>
          </p:cNvPr>
          <p:cNvPicPr/>
          <p:nvPr userDrawn="1">
            <p:custDataLst>
              <p:tags r:id="rId2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68287" y="467692"/>
            <a:ext cx="1939882" cy="7329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3701E1D-9FD1-42AD-91DE-DF5BA9B4DB6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white">
          <a:xfrm>
            <a:off x="461963" y="4438899"/>
            <a:ext cx="10134599" cy="10395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/>
              <a:t>Titel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029DDD8-08D2-4AD9-B5F0-E6CCC5954B07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/>
              <a:t>Untertitel (Datum, Ort, Name, ...)</a:t>
            </a:r>
          </a:p>
        </p:txBody>
      </p:sp>
      <p:sp>
        <p:nvSpPr>
          <p:cNvPr id="46" name="Textplatzhalter 42">
            <a:extLst>
              <a:ext uri="{FF2B5EF4-FFF2-40B4-BE49-F238E27FC236}">
                <a16:creationId xmlns:a16="http://schemas.microsoft.com/office/drawing/2014/main" id="{065FC1A0-E07C-4B15-AC25-3575EBB8EEAA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/>
              <a:t>© Copyright-Info, Quelle, …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178BDD75-53A6-43C6-8C0C-26F0514FCFC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296877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Abschnittsüb. mit Sub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50">
            <a:extLst>
              <a:ext uri="{FF2B5EF4-FFF2-40B4-BE49-F238E27FC236}">
                <a16:creationId xmlns:a16="http://schemas.microsoft.com/office/drawing/2014/main" id="{9543D4FD-C269-424C-BFF1-0CC3376683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/>
              <a:t>Sublogo</a:t>
            </a:r>
          </a:p>
        </p:txBody>
      </p:sp>
      <p:sp>
        <p:nvSpPr>
          <p:cNvPr id="45" name="Titel 44">
            <a:extLst>
              <a:ext uri="{FF2B5EF4-FFF2-40B4-BE49-F238E27FC236}">
                <a16:creationId xmlns:a16="http://schemas.microsoft.com/office/drawing/2014/main" id="{3516091C-A315-4CB3-88CE-6B9EB554E55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9" y="1549399"/>
            <a:ext cx="9288463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88463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A8FA552-E20A-45D6-9466-06CF509E5F5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A824437-7701-4594-9DE8-06D5133A3A9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3391597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CC3861D-6A0E-4D97-BCA6-9F478718F38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lnSpc>
                <a:spcPct val="9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DCF8E267-CD9A-43BB-A12F-82C2525191D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647B48-DCA4-45E1-9B45-2653E61736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E5224C-410D-4B9F-BF59-7C006D98BAB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0381326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31A36E86-3263-4D48-BFCA-E26CD9DAB5A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 numCol="2" spcCol="54000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A40535DB-D4B5-42FC-8954-8DE1710FC3A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2D9E9D-7157-4CE0-BAAB-69ABA24A65C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198BD7-791A-4FCA-B55B-36A5C4823C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3082148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D6CEAC0-C944-4C35-85FE-DD880493D9E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8101" y="1549400"/>
            <a:ext cx="446405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A906227-8E2A-4CC2-9512-40B18BC7BB0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9849" y="1549400"/>
            <a:ext cx="446400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183A7FE6-F5FB-4D55-918B-53D8A0E35A7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CC6A98-6ABC-499D-9FF6-E10D60E3C1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5B48A5-FBFD-449D-B880-FBE3EBB24ED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0077047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45653598-50F2-40CF-AC84-D7A01191F27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03719867-2AF1-4E31-B21C-CB92983E16A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19850" y="1549400"/>
            <a:ext cx="4465638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209EDC04-5C25-482D-BDF6-9F99E0B14BD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0312525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0F39A128-B7D5-4E74-A458-2046F7EE6F8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58966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A3FB2859-A54E-4049-8E23-3E9B56B2131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6419848" y="468438"/>
            <a:ext cx="4465639" cy="828674"/>
          </a:xfrm>
        </p:spPr>
        <p:txBody>
          <a:bodyPr anchor="t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/>
              <a:t>Titel kur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6"/>
            </p:custDataLst>
          </p:nvPr>
        </p:nvSpPr>
        <p:spPr>
          <a:xfrm>
            <a:off x="6419848" y="1549400"/>
            <a:ext cx="4465639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9987B4A-92C0-46CA-8956-DD82D63D821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1082764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BCD57A74-8557-43E6-AA11-A9EA05D72C3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0C7294D-AB76-4F34-AE16-B8A53315B53B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3"/>
            </p:custDataLst>
          </p:nvPr>
        </p:nvSpPr>
        <p:spPr>
          <a:xfrm>
            <a:off x="1306513" y="1547243"/>
            <a:ext cx="9578975" cy="338138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EF57B5E7-3EEC-4208-A7DF-F23A38D8C492}"/>
              </a:ext>
            </a:extLst>
          </p:cNvPr>
          <p:cNvSpPr>
            <a:spLocks noGrp="1"/>
          </p:cNvSpPr>
          <p:nvPr>
            <p:ph sz="half" idx="18" hasCustomPrompt="1"/>
            <p:custDataLst>
              <p:tags r:id="rId4"/>
            </p:custDataLst>
          </p:nvPr>
        </p:nvSpPr>
        <p:spPr>
          <a:xfrm>
            <a:off x="1308100" y="1956817"/>
            <a:ext cx="4464051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A54B1CBB-2721-4614-885C-583E3BDC6D5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C28CA6E3-ADBB-46D6-A1FC-9C929E9483AA}"/>
              </a:ext>
            </a:extLst>
          </p:cNvPr>
          <p:cNvSpPr>
            <a:spLocks noGrp="1"/>
          </p:cNvSpPr>
          <p:nvPr>
            <p:ph sz="half" idx="19" hasCustomPrompt="1"/>
            <p:custDataLst>
              <p:tags r:id="rId6"/>
            </p:custDataLst>
          </p:nvPr>
        </p:nvSpPr>
        <p:spPr>
          <a:xfrm>
            <a:off x="6419848" y="1956817"/>
            <a:ext cx="4465639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5F649EA5-E092-4F48-89BC-59787C8A4B08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9149837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1A0C5AC3-D69A-452C-8ADE-D933E076B9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5B81E50-C817-4FBC-803F-285AF00E8A2C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6DACEAC-FE72-4485-BA61-32B70B55C30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4269F25B-1382-4303-B158-37D6475FFA54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69E1E176-0BF8-48FB-9C78-4D3C31917A0F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F17CFAD3-D27F-4386-BB6A-DA7CD5FCD531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ECD8C927-8B97-4C3A-A82C-BD0BF859A3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8184068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C80B18DB-87A6-4902-B08F-EEEF6A4C490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B424605-8FAF-42C4-8B55-1E41E515CBD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64050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5"/>
            <a:ext cx="5292725" cy="5257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AA324F2-230D-45D1-9B3D-460855588C8F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EB1758-E825-49FE-BFC8-D85EC09665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38B308E-9401-4426-8362-E403648191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6259477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B641D741-C485-431B-AB18-BF0A3F576B6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511301B-9B7A-4FC8-899A-DA9F10DE5C8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4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5C7B036-BA63-4EF3-A22E-A1F0AF81DC5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4191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68A473-3BB1-4067-8830-F9B01DC5086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E5E550-2AEE-40CC-B9A5-572A524B8A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370378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98735E1B-0541-4A0E-9FE3-B087FEBC9257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AB39C453-1E66-49C6-A96C-112E158D898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3B606A-DCE3-4B26-81CB-18C2E897C8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F75537-0A25-4CFA-A3B7-13DE6D8B980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844962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3A680E4C-E350-49CA-B362-D5E27C2C708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684F57D3-A4C9-4846-A645-1B4E4C67FEE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5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8100" y="1549400"/>
            <a:ext cx="10404475" cy="41751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de-AT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17D854DD-9F1E-4B53-A47D-AD1BCFA810A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100" y="5795962"/>
            <a:ext cx="10406836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46B341-2E3B-48DF-8934-61B25EEE75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6012AB-A28A-4A12-888B-75D0EE4CAC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9314459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3D72A57A-0B88-47A5-963A-6E6CF2A2A7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169EF57-E6AB-4B93-AF12-7986543DEC8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423" y="468438"/>
            <a:ext cx="4458966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468438"/>
            <a:ext cx="5292725" cy="52560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de-AT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388F954D-4AA6-43D6-B116-7A4DEFDE530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1A1A9BF-3AED-4EFD-900F-A1F61F946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AEF1F5-9CB9-45A4-A9BB-5CC1F835C7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5160322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83392F52-F053-4B37-81F1-B63D0DE99D51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A12C0C97-07D5-4F96-8247-518187567D1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307069" y="1549399"/>
            <a:ext cx="9289494" cy="828675"/>
          </a:xfrm>
        </p:spPr>
        <p:txBody>
          <a:bodyPr/>
          <a:lstStyle>
            <a:lvl1pPr>
              <a:defRPr/>
            </a:lvl1pPr>
          </a:lstStyle>
          <a:p>
            <a:r>
              <a:rPr lang="de-AT"/>
              <a:t>Kontaktinformation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1307070" y="3429000"/>
            <a:ext cx="9289494" cy="2455545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AT"/>
              <a:t>Kontaktdaten eingeb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CE00CB-9CCC-4A9D-A758-DD7AA927D5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50ABF1-0BD3-4A46-9EEF-0778B9A7DE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2743543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59968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A4D9C9F8-301E-4CFC-8B8A-DEDA2C5FE76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 numCol="2" spcCol="540000"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E46D94CB-4BAE-48DA-827F-D9056A475D3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3E4034-6935-4B71-9A67-0E435E534DE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ED50658-ABE2-461D-84EF-37BA96365EA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305470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A7466A94-84E9-488D-9FEA-54A799BB8F6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7994A365-AC87-4177-BCC2-611ADD06E3C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8" y="1549399"/>
            <a:ext cx="9578419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7069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914CD1B9-8EAD-4E64-B937-2191518FA7B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8246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40AACBD9-D144-47D8-BF22-75B6B84380F3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634CED7-D00E-4574-8CD5-1FA88AC3EA9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B125049-6367-4C75-8FB6-5DE528AB6A1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5786694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F00D7A92-5520-4010-997D-C3C16905376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241BC17-C220-4886-BD60-87072EB6111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69084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6908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403E22A-F459-43A1-AB6C-BD735B41F1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B833629F-A04C-410B-858F-2375C6E7F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9571136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6EA20A8E-3CA3-4F5D-8861-97A51D3F653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069" y="2628900"/>
            <a:ext cx="4465082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DBDE5BD8-2226-45B1-BEC6-F35C7B6AF3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24937" y="2628900"/>
            <a:ext cx="4459997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701ADA35-279E-492B-B021-30E7C8352F7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393690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 descr="Logo der Technischen Universität Wien">
            <a:extLst>
              <a:ext uri="{FF2B5EF4-FFF2-40B4-BE49-F238E27FC236}">
                <a16:creationId xmlns:a16="http://schemas.microsoft.com/office/drawing/2014/main" id="{0070AC2A-BF7C-4825-9DC2-F4E94C492039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EDB697-75F4-40C0-9433-E49B99644D2C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1306513" y="2635386"/>
            <a:ext cx="9578975" cy="412400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AT"/>
              <a:t>Zwischentitel</a:t>
            </a:r>
          </a:p>
        </p:txBody>
      </p:sp>
      <p:sp>
        <p:nvSpPr>
          <p:cNvPr id="45" name="Inhaltsplatzhalter 2">
            <a:extLst>
              <a:ext uri="{FF2B5EF4-FFF2-40B4-BE49-F238E27FC236}">
                <a16:creationId xmlns:a16="http://schemas.microsoft.com/office/drawing/2014/main" id="{9824CDBD-05FF-44D6-AFB9-1597F69DA601}"/>
              </a:ext>
            </a:extLst>
          </p:cNvPr>
          <p:cNvSpPr>
            <a:spLocks noGrp="1"/>
          </p:cNvSpPr>
          <p:nvPr>
            <p:ph sz="half" idx="21" hasCustomPrompt="1"/>
            <p:custDataLst>
              <p:tags r:id="rId4"/>
            </p:custDataLst>
          </p:nvPr>
        </p:nvSpPr>
        <p:spPr>
          <a:xfrm>
            <a:off x="1307069" y="3047786"/>
            <a:ext cx="4465082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BC4CB93-0EDA-40F6-A82A-7933C7369F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46" name="Inhaltsplatzhalter 3">
            <a:extLst>
              <a:ext uri="{FF2B5EF4-FFF2-40B4-BE49-F238E27FC236}">
                <a16:creationId xmlns:a16="http://schemas.microsoft.com/office/drawing/2014/main" id="{CF7679A8-5D7D-4C63-A562-FF2DD8258D52}"/>
              </a:ext>
            </a:extLst>
          </p:cNvPr>
          <p:cNvSpPr>
            <a:spLocks noGrp="1"/>
          </p:cNvSpPr>
          <p:nvPr>
            <p:ph sz="half" idx="22" hasCustomPrompt="1"/>
            <p:custDataLst>
              <p:tags r:id="rId6"/>
            </p:custDataLst>
          </p:nvPr>
        </p:nvSpPr>
        <p:spPr>
          <a:xfrm>
            <a:off x="6424937" y="3047786"/>
            <a:ext cx="4459997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049E4546-1F5E-4098-86E2-2AC2D673901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912992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4A85C70-7CAB-4F95-9075-BECE02272E9D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6BCE82C1-419A-452A-A896-A11CD5E4483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60062EA2-CEBE-4CD2-886F-E7499AFB7832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44" name="Inhaltsplatzhalter 3">
            <a:extLst>
              <a:ext uri="{FF2B5EF4-FFF2-40B4-BE49-F238E27FC236}">
                <a16:creationId xmlns:a16="http://schemas.microsoft.com/office/drawing/2014/main" id="{835A0ABB-9EF3-4E9D-B6E8-3A64CA54EFA3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/>
              <a:t>Formatvorlagen des Textmasters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8A0E8162-B812-4DFA-A815-61AA72E5C1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78903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EEE1EB9-F30E-41CC-A5EA-1BB4036EAE50}"/>
              </a:ext>
            </a:extLst>
          </p:cNvPr>
          <p:cNvSpPr>
            <a:spLocks noGrp="1"/>
          </p:cNvSpPr>
          <p:nvPr userDrawn="1">
            <p:ph type="title"/>
            <p:custDataLst>
              <p:tags r:id="rId35"/>
            </p:custDataLst>
          </p:nvPr>
        </p:nvSpPr>
        <p:spPr bwMode="gray">
          <a:xfrm>
            <a:off x="1307069" y="1549399"/>
            <a:ext cx="10405506" cy="8286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AT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201E79-C3C6-4E96-894F-E05A4B90D1FF}"/>
              </a:ext>
            </a:extLst>
          </p:cNvPr>
          <p:cNvSpPr>
            <a:spLocks noGrp="1"/>
          </p:cNvSpPr>
          <p:nvPr userDrawn="1">
            <p:ph type="body" idx="1"/>
            <p:custDataLst>
              <p:tags r:id="rId36"/>
            </p:custDataLst>
          </p:nvPr>
        </p:nvSpPr>
        <p:spPr bwMode="gray">
          <a:xfrm>
            <a:off x="1308100" y="2628901"/>
            <a:ext cx="10404474" cy="3086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AT"/>
              <a:t>Mastertextformat bearbeiten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B4FDE39-4A0A-4D44-BA64-FAA4243A1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6235700"/>
            <a:ext cx="12192000" cy="622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AT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5777435-05C2-4B0D-8378-14DDFE4EBD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8"/>
            </p:custDataLst>
          </p:nvPr>
        </p:nvSpPr>
        <p:spPr bwMode="white">
          <a:xfrm>
            <a:off x="461963" y="6385768"/>
            <a:ext cx="101346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AT"/>
              <a:t>Musterpräsentation | September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7DA86F-8392-48F1-84B2-3D91C8489FAC}"/>
              </a:ext>
            </a:extLst>
          </p:cNvPr>
          <p:cNvSpPr>
            <a:spLocks noGrp="1"/>
          </p:cNvSpPr>
          <p:nvPr userDrawn="1">
            <p:ph type="sldNum" sz="quarter" idx="4"/>
            <p:custDataLst>
              <p:tags r:id="rId39"/>
            </p:custDataLst>
          </p:nvPr>
        </p:nvSpPr>
        <p:spPr bwMode="white">
          <a:xfrm>
            <a:off x="10885488" y="6385768"/>
            <a:ext cx="827086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18F7AD7-DC47-44A0-A9D7-F1C17BFD6F09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062784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67" r:id="rId4"/>
    <p:sldLayoutId id="2147483708" r:id="rId5"/>
    <p:sldLayoutId id="2147483651" r:id="rId6"/>
    <p:sldLayoutId id="2147483652" r:id="rId7"/>
    <p:sldLayoutId id="2147483752" r:id="rId8"/>
    <p:sldLayoutId id="2147483744" r:id="rId9"/>
    <p:sldLayoutId id="2147483666" r:id="rId10"/>
    <p:sldLayoutId id="2147483668" r:id="rId11"/>
    <p:sldLayoutId id="2147483669" r:id="rId12"/>
    <p:sldLayoutId id="2147483670" r:id="rId13"/>
    <p:sldLayoutId id="2147483671" r:id="rId14"/>
    <p:sldLayoutId id="2147483673" r:id="rId15"/>
    <p:sldLayoutId id="2147483745" r:id="rId16"/>
    <p:sldLayoutId id="2147483738" r:id="rId17"/>
    <p:sldLayoutId id="2147483735" r:id="rId18"/>
    <p:sldLayoutId id="2147483736" r:id="rId19"/>
    <p:sldLayoutId id="2147483737" r:id="rId20"/>
    <p:sldLayoutId id="2147483725" r:id="rId21"/>
    <p:sldLayoutId id="2147483726" r:id="rId22"/>
    <p:sldLayoutId id="2147483727" r:id="rId23"/>
    <p:sldLayoutId id="2147483729" r:id="rId24"/>
    <p:sldLayoutId id="2147483730" r:id="rId25"/>
    <p:sldLayoutId id="2147483751" r:id="rId26"/>
    <p:sldLayoutId id="2147483746" r:id="rId27"/>
    <p:sldLayoutId id="2147483731" r:id="rId28"/>
    <p:sldLayoutId id="2147483732" r:id="rId29"/>
    <p:sldLayoutId id="2147483733" r:id="rId30"/>
    <p:sldLayoutId id="2147483734" r:id="rId31"/>
    <p:sldLayoutId id="2147483707" r:id="rId32"/>
    <p:sldLayoutId id="2147483655" r:id="rId3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1463" algn="l" defTabSz="9144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pos="291" userDrawn="1">
          <p15:clr>
            <a:srgbClr val="F26B43"/>
          </p15:clr>
        </p15:guide>
        <p15:guide id="6" orient="horz" pos="976" userDrawn="1">
          <p15:clr>
            <a:srgbClr val="F26B43"/>
          </p15:clr>
        </p15:guide>
        <p15:guide id="7" orient="horz" pos="3198" userDrawn="1">
          <p15:clr>
            <a:srgbClr val="F26B43"/>
          </p15:clr>
        </p15:guide>
        <p15:guide id="8" orient="horz" pos="3451" userDrawn="1">
          <p15:clr>
            <a:srgbClr val="F26B43"/>
          </p15:clr>
        </p15:guide>
        <p15:guide id="9" orient="horz" pos="3714" userDrawn="1">
          <p15:clr>
            <a:srgbClr val="F26B43"/>
          </p15:clr>
        </p15:guide>
        <p15:guide id="10" pos="4044" userDrawn="1">
          <p15:clr>
            <a:srgbClr val="F26B43"/>
          </p15:clr>
        </p15:guide>
        <p15:guide id="11" pos="3636" userDrawn="1">
          <p15:clr>
            <a:srgbClr val="F26B43"/>
          </p15:clr>
        </p15:guide>
        <p15:guide id="12" orient="horz" pos="1114" userDrawn="1">
          <p15:clr>
            <a:srgbClr val="F26B43"/>
          </p15:clr>
        </p15:guide>
        <p15:guide id="13" orient="horz" pos="1498" userDrawn="1">
          <p15:clr>
            <a:srgbClr val="F26B43"/>
          </p15:clr>
        </p15:guide>
        <p15:guide id="14" orient="horz" pos="294" userDrawn="1">
          <p15:clr>
            <a:srgbClr val="F26B43"/>
          </p15:clr>
        </p15:guide>
        <p15:guide id="15" orient="horz" pos="531" userDrawn="1">
          <p15:clr>
            <a:srgbClr val="F26B43"/>
          </p15:clr>
        </p15:guide>
        <p15:guide id="16" orient="horz" pos="762" userDrawn="1">
          <p15:clr>
            <a:srgbClr val="F26B43"/>
          </p15:clr>
        </p15:guide>
        <p15:guide id="17" orient="horz" pos="1651" userDrawn="1">
          <p15:clr>
            <a:srgbClr val="F26B43"/>
          </p15:clr>
        </p15:guide>
        <p15:guide id="18" pos="824" userDrawn="1">
          <p15:clr>
            <a:srgbClr val="F26B43"/>
          </p15:clr>
        </p15:guide>
        <p15:guide id="19" pos="6675" userDrawn="1">
          <p15:clr>
            <a:srgbClr val="F26B43"/>
          </p15:clr>
        </p15:guide>
        <p15:guide id="20" orient="horz" pos="3606" userDrawn="1">
          <p15:clr>
            <a:srgbClr val="F26B43"/>
          </p15:clr>
        </p15:guide>
        <p15:guide id="21" pos="68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8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34.png"/><Relationship Id="rId5" Type="http://schemas.openxmlformats.org/officeDocument/2006/relationships/image" Target="../media/image10.png"/><Relationship Id="rId4" Type="http://schemas.openxmlformats.org/officeDocument/2006/relationships/image" Target="../media/image3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microsoft.com/office/2007/relationships/media" Target="../media/media3.mp4"/><Relationship Id="rId7" Type="http://schemas.openxmlformats.org/officeDocument/2006/relationships/image" Target="../media/image36.png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10.png"/><Relationship Id="rId5" Type="http://schemas.openxmlformats.org/officeDocument/2006/relationships/slideLayout" Target="../slideLayouts/slideLayout25.xml"/><Relationship Id="rId4" Type="http://schemas.openxmlformats.org/officeDocument/2006/relationships/video" Target="../media/media3.mp4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34726/hss.2024.88260" TargetMode="External"/><Relationship Id="rId2" Type="http://schemas.openxmlformats.org/officeDocument/2006/relationships/hyperlink" Target="https://cds.cern.ch/record/385378" TargetMode="Externa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>
          <a:extLst>
            <a:ext uri="{FF2B5EF4-FFF2-40B4-BE49-F238E27FC236}">
              <a16:creationId xmlns:a16="http://schemas.microsoft.com/office/drawing/2014/main" id="{3CE0688B-D539-5FBF-47D1-ECBF812E6E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51604F-3856-3DF5-A872-6085FBB0247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err="1"/>
              <a:t>Investigations</a:t>
            </a:r>
            <a:r>
              <a:rPr lang="de-DE"/>
              <a:t> </a:t>
            </a:r>
            <a:r>
              <a:rPr lang="de-DE" err="1"/>
              <a:t>into</a:t>
            </a:r>
            <a:r>
              <a:rPr lang="de-DE"/>
              <a:t> </a:t>
            </a:r>
            <a:br>
              <a:rPr lang="de-DE"/>
            </a:br>
            <a:r>
              <a:rPr lang="de-DE"/>
              <a:t>Multi-Energy </a:t>
            </a:r>
            <a:r>
              <a:rPr lang="de-DE" err="1"/>
              <a:t>Extraction</a:t>
            </a:r>
            <a:r>
              <a:rPr lang="de-DE"/>
              <a:t> at </a:t>
            </a:r>
            <a:r>
              <a:rPr lang="de-DE" err="1"/>
              <a:t>MedAustron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F7E26C4-F751-C2E9-2080-F03E3D0D4BA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/>
              <a:t>Katrin Holzfeind, Elisabeth Renner (TU Wien) </a:t>
            </a:r>
          </a:p>
          <a:p>
            <a:r>
              <a:rPr lang="de-DE"/>
              <a:t>Fabien </a:t>
            </a:r>
            <a:r>
              <a:rPr lang="de-DE" err="1"/>
              <a:t>Plassard</a:t>
            </a:r>
            <a:r>
              <a:rPr lang="de-DE"/>
              <a:t>, Markus Wolf (</a:t>
            </a:r>
            <a:r>
              <a:rPr lang="de-DE" err="1"/>
              <a:t>MedAustron</a:t>
            </a:r>
            <a:r>
              <a:rPr lang="de-DE"/>
              <a:t>) </a:t>
            </a:r>
          </a:p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076650-4BB2-C496-CF8C-A2858A61C1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F7CA1436-7F76-DB7A-DEAA-5E87E801742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3"/>
          <a:stretch>
            <a:fillRect/>
          </a:stretch>
        </p:blipFill>
        <p:spPr bwMode="gray">
          <a:xfrm>
            <a:off x="702101" y="468437"/>
            <a:ext cx="1948020" cy="738000"/>
          </a:xfrm>
          <a:prstGeom prst="rect">
            <a:avLst/>
          </a:prstGeom>
        </p:spPr>
      </p:pic>
      <p:pic>
        <p:nvPicPr>
          <p:cNvPr id="12" name="Content Placeholder 9">
            <a:extLst>
              <a:ext uri="{FF2B5EF4-FFF2-40B4-BE49-F238E27FC236}">
                <a16:creationId xmlns:a16="http://schemas.microsoft.com/office/drawing/2014/main" id="{5791C1DA-E123-4B29-81AB-FE10C6830C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gray">
          <a:xfrm>
            <a:off x="4913685" y="468437"/>
            <a:ext cx="1343634" cy="738000"/>
          </a:xfrm>
          <a:prstGeom prst="rect">
            <a:avLst/>
          </a:prstGeom>
        </p:spPr>
      </p:pic>
      <p:pic>
        <p:nvPicPr>
          <p:cNvPr id="14" name="Content Placeholder 9">
            <a:extLst>
              <a:ext uri="{FF2B5EF4-FFF2-40B4-BE49-F238E27FC236}">
                <a16:creationId xmlns:a16="http://schemas.microsoft.com/office/drawing/2014/main" id="{6C7400D8-AA88-EF3A-4FB5-A972A442DE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gray">
          <a:xfrm>
            <a:off x="9065373" y="616572"/>
            <a:ext cx="2422797" cy="733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1551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 err="1"/>
              <a:t>Developments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RFKO MEE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 vert="horz" lIns="0" tIns="0" rIns="0" bIns="0" rtlCol="0" anchor="t">
            <a:noAutofit/>
          </a:bodyPr>
          <a:lstStyle/>
          <a:p>
            <a:pPr marL="269875" indent="-269875"/>
            <a:r>
              <a:rPr lang="en-US" u="sng"/>
              <a:t>Newly implemented MEE</a:t>
            </a:r>
            <a:endParaRPr lang="en-US"/>
          </a:p>
          <a:p>
            <a:pPr lvl="1" indent="-271145"/>
            <a:r>
              <a:rPr lang="en-US"/>
              <a:t>Custom waveform for power converters of all main ring magnets and the RF cavity </a:t>
            </a:r>
            <a:endParaRPr lang="en-US">
              <a:cs typeface="Arial" panose="020B0604020202020204"/>
            </a:endParaRPr>
          </a:p>
          <a:p>
            <a:pPr lvl="1" indent="-271145"/>
            <a:r>
              <a:rPr lang="en-US"/>
              <a:t>Enables up- and downwards operation for arbitrary energy steps </a:t>
            </a:r>
            <a:endParaRPr lang="en-US">
              <a:cs typeface="Arial" panose="020B0604020202020204"/>
            </a:endParaRPr>
          </a:p>
          <a:p>
            <a:pPr marL="269875" indent="-269875"/>
            <a:r>
              <a:rPr lang="en-US" u="sng"/>
              <a:t>New RFKO setup: µTCA-crate</a:t>
            </a:r>
            <a:endParaRPr lang="en-US" u="sng">
              <a:cs typeface="Arial" panose="020B0604020202020204"/>
            </a:endParaRPr>
          </a:p>
          <a:p>
            <a:pPr lvl="1" indent="-271145"/>
            <a:r>
              <a:rPr lang="en-US"/>
              <a:t>Combination of different signals, amplitude modulation and triggering are possible [5]</a:t>
            </a:r>
            <a:endParaRPr lang="en-US">
              <a:cs typeface="Arial" panose="020B0604020202020204"/>
            </a:endParaRPr>
          </a:p>
          <a:p>
            <a:pPr lvl="1" indent="-271145"/>
            <a:r>
              <a:rPr lang="en-US"/>
              <a:t>First benchmark measurements</a:t>
            </a:r>
            <a:endParaRPr lang="en-US">
              <a:cs typeface="Arial" panose="020B0604020202020204"/>
            </a:endParaRPr>
          </a:p>
          <a:p>
            <a:pPr marL="804545" lvl="2"/>
            <a:r>
              <a:rPr lang="en-US"/>
              <a:t>Binary phase shift keying with </a:t>
            </a:r>
            <a:r>
              <a:rPr lang="en-US" b="1"/>
              <a:t>same band width but appropriate central frequency </a:t>
            </a:r>
            <a:r>
              <a:rPr lang="en-US"/>
              <a:t>applied for extraction </a:t>
            </a:r>
            <a:endParaRPr lang="en-US">
              <a:cs typeface="Arial" panose="020B0604020202020204"/>
            </a:endParaRPr>
          </a:p>
          <a:p>
            <a:pPr marL="269875" indent="-269875"/>
            <a:r>
              <a:rPr lang="de-DE" u="sng" err="1"/>
              <a:t>Implications</a:t>
            </a:r>
            <a:r>
              <a:rPr lang="de-DE" u="sng"/>
              <a:t> </a:t>
            </a:r>
            <a:r>
              <a:rPr lang="de-DE" u="sng" err="1"/>
              <a:t>of</a:t>
            </a:r>
            <a:r>
              <a:rPr lang="de-DE" u="sng"/>
              <a:t> </a:t>
            </a:r>
            <a:r>
              <a:rPr lang="de-DE" u="sng" err="1"/>
              <a:t>setup</a:t>
            </a:r>
            <a:endParaRPr lang="de-DE" u="sng" err="1">
              <a:cs typeface="Arial"/>
            </a:endParaRPr>
          </a:p>
          <a:p>
            <a:pPr lvl="1" indent="-271145"/>
            <a:r>
              <a:rPr lang="de-DE"/>
              <a:t>All </a:t>
            </a:r>
            <a:r>
              <a:rPr lang="de-DE" err="1"/>
              <a:t>main</a:t>
            </a:r>
            <a:r>
              <a:rPr lang="de-DE"/>
              <a:t> ring </a:t>
            </a:r>
            <a:r>
              <a:rPr lang="de-DE" err="1"/>
              <a:t>magnets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</a:t>
            </a:r>
            <a:r>
              <a:rPr lang="de-DE" err="1"/>
              <a:t>current</a:t>
            </a:r>
            <a:r>
              <a:rPr lang="de-DE"/>
              <a:t> </a:t>
            </a:r>
            <a:r>
              <a:rPr lang="de-DE" err="1"/>
              <a:t>regulated</a:t>
            </a:r>
            <a:r>
              <a:rPr lang="de-DE"/>
              <a:t> </a:t>
            </a:r>
            <a:endParaRPr lang="de-DE">
              <a:cs typeface="Arial" panose="020B0604020202020204"/>
            </a:endParaRPr>
          </a:p>
          <a:p>
            <a:pPr lvl="1" indent="-271145"/>
            <a:r>
              <a:rPr lang="de-DE"/>
              <a:t>Possible </a:t>
            </a:r>
            <a:r>
              <a:rPr lang="de-DE" err="1"/>
              <a:t>mismatches</a:t>
            </a:r>
            <a:r>
              <a:rPr lang="de-DE"/>
              <a:t> in </a:t>
            </a:r>
            <a:r>
              <a:rPr lang="de-DE" err="1"/>
              <a:t>energy</a:t>
            </a:r>
            <a:r>
              <a:rPr lang="de-DE"/>
              <a:t> </a:t>
            </a:r>
            <a:r>
              <a:rPr lang="de-DE">
                <a:sym typeface="Wingdings" panose="05000000000000000000" pitchFamily="2" charset="2"/>
              </a:rPr>
              <a:t> B-</a:t>
            </a:r>
            <a:r>
              <a:rPr lang="de-DE" err="1">
                <a:sym typeface="Wingdings" panose="05000000000000000000" pitchFamily="2" charset="2"/>
              </a:rPr>
              <a:t>field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regulation</a:t>
            </a:r>
            <a:r>
              <a:rPr lang="de-DE">
                <a:sym typeface="Wingdings" panose="05000000000000000000" pitchFamily="2" charset="2"/>
              </a:rPr>
              <a:t> in </a:t>
            </a:r>
            <a:r>
              <a:rPr lang="de-DE" err="1">
                <a:sym typeface="Wingdings" panose="05000000000000000000" pitchFamily="2" charset="2"/>
              </a:rPr>
              <a:t>near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future</a:t>
            </a:r>
            <a:r>
              <a:rPr lang="de-DE">
                <a:sym typeface="Wingdings" panose="05000000000000000000" pitchFamily="2" charset="2"/>
              </a:rPr>
              <a:t> [6]</a:t>
            </a:r>
            <a:endParaRPr lang="de-DE">
              <a:cs typeface="Arial"/>
            </a:endParaRPr>
          </a:p>
          <a:p>
            <a:pPr lvl="1" indent="-271145"/>
            <a:endParaRPr lang="de-DE">
              <a:cs typeface="Arial"/>
            </a:endParaRPr>
          </a:p>
          <a:p>
            <a:pPr marL="804545" lvl="2"/>
            <a:endParaRPr lang="en-US">
              <a:cs typeface="Arial" panose="020B0604020202020204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1E48F31-0E6D-83BA-E34F-62C30D5E42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3382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 err="1"/>
              <a:t>Developments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RFKO MEE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 vert="horz" lIns="0" tIns="0" rIns="0" bIns="0" rtlCol="0" anchor="t">
            <a:noAutofit/>
          </a:bodyPr>
          <a:lstStyle/>
          <a:p>
            <a:pPr marL="269875" indent="-269875"/>
            <a:r>
              <a:rPr lang="en-US" u="sng"/>
              <a:t>Newly implemented MEE</a:t>
            </a:r>
            <a:endParaRPr lang="en-US"/>
          </a:p>
          <a:p>
            <a:pPr lvl="1" indent="-271145"/>
            <a:r>
              <a:rPr lang="en-US"/>
              <a:t>Custom waveform for power converters of all main ring magnets and the RF cavity </a:t>
            </a:r>
            <a:endParaRPr lang="en-US">
              <a:cs typeface="Arial" panose="020B0604020202020204"/>
            </a:endParaRPr>
          </a:p>
          <a:p>
            <a:pPr lvl="1" indent="-271145"/>
            <a:r>
              <a:rPr lang="en-US"/>
              <a:t>Enables up- and downwards operation for arbitrary energy steps </a:t>
            </a:r>
            <a:endParaRPr lang="en-US">
              <a:cs typeface="Arial" panose="020B0604020202020204"/>
            </a:endParaRPr>
          </a:p>
          <a:p>
            <a:pPr marL="269875" indent="-269875"/>
            <a:r>
              <a:rPr lang="en-US" u="sng"/>
              <a:t>New RFKO setup: µTCA-crate</a:t>
            </a:r>
            <a:endParaRPr lang="en-US" u="sng">
              <a:cs typeface="Arial"/>
            </a:endParaRPr>
          </a:p>
          <a:p>
            <a:pPr lvl="1" indent="-271145"/>
            <a:r>
              <a:rPr lang="en-US"/>
              <a:t>Combination of different signals, amplitude modulation and triggering are possible [5]</a:t>
            </a:r>
            <a:endParaRPr lang="en-US">
              <a:cs typeface="Arial" panose="020B0604020202020204"/>
            </a:endParaRPr>
          </a:p>
          <a:p>
            <a:pPr lvl="1" indent="-271145"/>
            <a:r>
              <a:rPr lang="en-US"/>
              <a:t>First benchmark measurements</a:t>
            </a:r>
            <a:endParaRPr lang="en-US">
              <a:cs typeface="Arial" panose="020B0604020202020204"/>
            </a:endParaRPr>
          </a:p>
          <a:p>
            <a:pPr marL="804545" lvl="2"/>
            <a:r>
              <a:rPr lang="en-US"/>
              <a:t>Binary phase shift keying with </a:t>
            </a:r>
            <a:r>
              <a:rPr lang="en-US" b="1"/>
              <a:t>same band width but appropriate central frequency </a:t>
            </a:r>
            <a:r>
              <a:rPr lang="en-US"/>
              <a:t>applied for extraction </a:t>
            </a:r>
            <a:endParaRPr lang="en-US">
              <a:cs typeface="Arial" panose="020B0604020202020204"/>
            </a:endParaRPr>
          </a:p>
          <a:p>
            <a:pPr marL="269875" indent="-269875"/>
            <a:r>
              <a:rPr lang="de-DE" u="sng" err="1"/>
              <a:t>Implications</a:t>
            </a:r>
            <a:r>
              <a:rPr lang="de-DE" u="sng"/>
              <a:t> </a:t>
            </a:r>
            <a:r>
              <a:rPr lang="de-DE" u="sng" err="1"/>
              <a:t>of</a:t>
            </a:r>
            <a:r>
              <a:rPr lang="de-DE" u="sng"/>
              <a:t> </a:t>
            </a:r>
            <a:r>
              <a:rPr lang="de-DE" u="sng" err="1"/>
              <a:t>setup</a:t>
            </a:r>
            <a:endParaRPr lang="de-DE" u="sng">
              <a:cs typeface="Arial"/>
            </a:endParaRPr>
          </a:p>
          <a:p>
            <a:pPr lvl="1" indent="-271145"/>
            <a:r>
              <a:rPr lang="de-DE"/>
              <a:t>All </a:t>
            </a:r>
            <a:r>
              <a:rPr lang="de-DE" err="1"/>
              <a:t>main</a:t>
            </a:r>
            <a:r>
              <a:rPr lang="de-DE"/>
              <a:t> ring </a:t>
            </a:r>
            <a:r>
              <a:rPr lang="de-DE" err="1"/>
              <a:t>magnets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</a:t>
            </a:r>
            <a:r>
              <a:rPr lang="de-DE" err="1"/>
              <a:t>current</a:t>
            </a:r>
            <a:r>
              <a:rPr lang="de-DE"/>
              <a:t> </a:t>
            </a:r>
            <a:r>
              <a:rPr lang="de-DE" err="1"/>
              <a:t>regulated</a:t>
            </a:r>
            <a:endParaRPr lang="de-DE">
              <a:cs typeface="Arial"/>
            </a:endParaRPr>
          </a:p>
          <a:p>
            <a:pPr lvl="1" indent="-271145"/>
            <a:r>
              <a:rPr lang="de-DE" strike="sngStrike"/>
              <a:t>Possible </a:t>
            </a:r>
            <a:r>
              <a:rPr lang="de-DE" strike="sngStrike" err="1"/>
              <a:t>mismatches</a:t>
            </a:r>
            <a:r>
              <a:rPr lang="de-DE" strike="sngStrike"/>
              <a:t> in </a:t>
            </a:r>
            <a:r>
              <a:rPr lang="de-DE" strike="sngStrike" err="1"/>
              <a:t>energy</a:t>
            </a:r>
            <a:r>
              <a:rPr lang="de-DE" strike="sngStrike"/>
              <a:t> </a:t>
            </a:r>
            <a:r>
              <a:rPr lang="de-DE">
                <a:sym typeface="Wingdings" panose="05000000000000000000" pitchFamily="2" charset="2"/>
              </a:rPr>
              <a:t> B-</a:t>
            </a:r>
            <a:r>
              <a:rPr lang="de-DE" err="1">
                <a:sym typeface="Wingdings" panose="05000000000000000000" pitchFamily="2" charset="2"/>
              </a:rPr>
              <a:t>field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regulation</a:t>
            </a:r>
            <a:r>
              <a:rPr lang="de-DE">
                <a:sym typeface="Wingdings" panose="05000000000000000000" pitchFamily="2" charset="2"/>
              </a:rPr>
              <a:t> in </a:t>
            </a:r>
            <a:r>
              <a:rPr lang="de-DE" err="1">
                <a:sym typeface="Wingdings" panose="05000000000000000000" pitchFamily="2" charset="2"/>
              </a:rPr>
              <a:t>near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future</a:t>
            </a:r>
            <a:r>
              <a:rPr lang="de-DE">
                <a:sym typeface="Wingdings" panose="05000000000000000000" pitchFamily="2" charset="2"/>
              </a:rPr>
              <a:t> [6]</a:t>
            </a:r>
            <a:endParaRPr lang="de-DE">
              <a:cs typeface="Arial"/>
            </a:endParaRPr>
          </a:p>
          <a:p>
            <a:pPr lvl="1" indent="-271145"/>
            <a:endParaRPr lang="de-DE">
              <a:cs typeface="Arial"/>
            </a:endParaRPr>
          </a:p>
          <a:p>
            <a:pPr marL="804545" lvl="2"/>
            <a:endParaRPr lang="en-US">
              <a:cs typeface="Arial" panose="020B0604020202020204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C8C63D1-E9C9-885A-F7C3-93E9A75C00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052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 err="1">
                <a:cs typeface="Arial"/>
              </a:rPr>
              <a:t>Developments</a:t>
            </a:r>
            <a:r>
              <a:rPr lang="de-DE">
                <a:cs typeface="Arial"/>
              </a:rPr>
              <a:t> </a:t>
            </a:r>
            <a:r>
              <a:rPr lang="de-DE" err="1">
                <a:cs typeface="Arial"/>
              </a:rPr>
              <a:t>for</a:t>
            </a:r>
            <a:r>
              <a:rPr lang="de-DE">
                <a:cs typeface="Arial"/>
              </a:rPr>
              <a:t> RFKO MEE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 vert="horz" lIns="0" tIns="0" rIns="0" bIns="0" rtlCol="0" anchor="t">
            <a:noAutofit/>
          </a:bodyPr>
          <a:lstStyle/>
          <a:p>
            <a:pPr marL="269875" indent="-269875"/>
            <a:r>
              <a:rPr lang="en-US" u="sng" dirty="0"/>
              <a:t>Newly implemented MEE</a:t>
            </a:r>
            <a:endParaRPr lang="en-US" dirty="0"/>
          </a:p>
          <a:p>
            <a:pPr lvl="1" indent="-271145"/>
            <a:r>
              <a:rPr lang="en-US" dirty="0"/>
              <a:t>Custom waveform for power converters of all main ring magnets and the RF cavity </a:t>
            </a:r>
            <a:endParaRPr lang="en-US" dirty="0">
              <a:cs typeface="Arial" panose="020B0604020202020204"/>
            </a:endParaRPr>
          </a:p>
          <a:p>
            <a:pPr lvl="1" indent="-271145"/>
            <a:r>
              <a:rPr lang="en-US" dirty="0"/>
              <a:t>Enables up- and downwards operation for arbitrary energy steps </a:t>
            </a:r>
            <a:endParaRPr lang="en-US" dirty="0">
              <a:cs typeface="Arial" panose="020B0604020202020204"/>
            </a:endParaRPr>
          </a:p>
          <a:p>
            <a:pPr marL="269875" indent="-269875"/>
            <a:r>
              <a:rPr lang="en-US" u="sng" dirty="0"/>
              <a:t>New RFKO setup: µTCA-crate</a:t>
            </a:r>
            <a:r>
              <a:rPr lang="en-US" dirty="0"/>
              <a:t> </a:t>
            </a:r>
            <a:endParaRPr lang="en-US" dirty="0">
              <a:cs typeface="Arial" panose="020B0604020202020204"/>
            </a:endParaRPr>
          </a:p>
          <a:p>
            <a:pPr lvl="1" indent="-271145"/>
            <a:r>
              <a:rPr lang="en-US" dirty="0"/>
              <a:t>Combination of different signals, amplitude modulation and triggering are possible [5]</a:t>
            </a:r>
            <a:endParaRPr lang="en-US" dirty="0">
              <a:cs typeface="Arial" panose="020B0604020202020204"/>
            </a:endParaRPr>
          </a:p>
          <a:p>
            <a:pPr lvl="1" indent="-271145"/>
            <a:r>
              <a:rPr lang="en-US" dirty="0"/>
              <a:t>First benchmark measurements</a:t>
            </a:r>
            <a:endParaRPr lang="en-US" dirty="0">
              <a:cs typeface="Arial" panose="020B0604020202020204"/>
            </a:endParaRPr>
          </a:p>
          <a:p>
            <a:pPr marL="804545" lvl="2"/>
            <a:r>
              <a:rPr lang="en-US" dirty="0"/>
              <a:t>Binary phase shift keying with </a:t>
            </a:r>
            <a:r>
              <a:rPr lang="en-US" b="1" dirty="0"/>
              <a:t>same band width but appropriate central frequency </a:t>
            </a:r>
            <a:r>
              <a:rPr lang="en-US" dirty="0"/>
              <a:t>applied for extraction </a:t>
            </a:r>
            <a:endParaRPr lang="en-US" dirty="0">
              <a:cs typeface="Arial" panose="020B0604020202020204"/>
            </a:endParaRPr>
          </a:p>
          <a:p>
            <a:pPr marL="269875" indent="-269875"/>
            <a:r>
              <a:rPr lang="de-DE" u="sng" dirty="0" err="1"/>
              <a:t>Implications</a:t>
            </a:r>
            <a:r>
              <a:rPr lang="de-DE" u="sng" dirty="0"/>
              <a:t> </a:t>
            </a:r>
            <a:r>
              <a:rPr lang="de-DE" u="sng" dirty="0" err="1"/>
              <a:t>of</a:t>
            </a:r>
            <a:r>
              <a:rPr lang="de-DE" u="sng" dirty="0"/>
              <a:t> </a:t>
            </a:r>
            <a:r>
              <a:rPr lang="de-DE" u="sng" dirty="0" err="1"/>
              <a:t>setup</a:t>
            </a:r>
            <a:endParaRPr lang="de-DE" u="sng" dirty="0" err="1">
              <a:cs typeface="Arial"/>
            </a:endParaRPr>
          </a:p>
          <a:p>
            <a:pPr lvl="1" indent="-271145"/>
            <a:r>
              <a:rPr lang="de-DE" dirty="0"/>
              <a:t>All </a:t>
            </a:r>
            <a:r>
              <a:rPr lang="de-DE" dirty="0" err="1"/>
              <a:t>main</a:t>
            </a:r>
            <a:r>
              <a:rPr lang="de-DE" dirty="0"/>
              <a:t> ring </a:t>
            </a:r>
            <a:r>
              <a:rPr lang="de-DE" dirty="0" err="1"/>
              <a:t>magnet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regulated</a:t>
            </a:r>
            <a:r>
              <a:rPr lang="de-DE" dirty="0"/>
              <a:t> </a:t>
            </a:r>
            <a:endParaRPr lang="de-DE" dirty="0">
              <a:cs typeface="Arial" panose="020B0604020202020204"/>
            </a:endParaRPr>
          </a:p>
          <a:p>
            <a:pPr lvl="1" indent="-271145"/>
            <a:r>
              <a:rPr lang="de-DE" strike="sngStrike" dirty="0"/>
              <a:t>Possible </a:t>
            </a:r>
            <a:r>
              <a:rPr lang="de-DE" strike="sngStrike" dirty="0" err="1"/>
              <a:t>mismatches</a:t>
            </a:r>
            <a:r>
              <a:rPr lang="de-DE" strike="sngStrike" dirty="0"/>
              <a:t> in </a:t>
            </a:r>
            <a:r>
              <a:rPr lang="de-DE" strike="sngStrike" dirty="0" err="1"/>
              <a:t>energy</a:t>
            </a:r>
            <a:r>
              <a:rPr lang="de-DE" strike="sngStrike" dirty="0"/>
              <a:t> </a:t>
            </a:r>
            <a:r>
              <a:rPr lang="de-DE" dirty="0">
                <a:sym typeface="Wingdings" panose="05000000000000000000" pitchFamily="2" charset="2"/>
              </a:rPr>
              <a:t> B-</a:t>
            </a:r>
            <a:r>
              <a:rPr lang="de-DE" dirty="0" err="1">
                <a:sym typeface="Wingdings" panose="05000000000000000000" pitchFamily="2" charset="2"/>
              </a:rPr>
              <a:t>field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regulation</a:t>
            </a:r>
            <a:r>
              <a:rPr lang="de-DE" dirty="0">
                <a:sym typeface="Wingdings" panose="05000000000000000000" pitchFamily="2" charset="2"/>
              </a:rPr>
              <a:t> in </a:t>
            </a:r>
            <a:r>
              <a:rPr lang="de-DE" dirty="0" err="1">
                <a:sym typeface="Wingdings" panose="05000000000000000000" pitchFamily="2" charset="2"/>
              </a:rPr>
              <a:t>nea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future</a:t>
            </a:r>
            <a:r>
              <a:rPr lang="de-DE" dirty="0">
                <a:sym typeface="Wingdings" panose="05000000000000000000" pitchFamily="2" charset="2"/>
              </a:rPr>
              <a:t> [6]</a:t>
            </a:r>
            <a:endParaRPr lang="de-DE" dirty="0">
              <a:cs typeface="Arial"/>
            </a:endParaRPr>
          </a:p>
          <a:p>
            <a:pPr lvl="1" indent="-271145"/>
            <a:r>
              <a:rPr lang="de-DE" dirty="0" err="1">
                <a:sym typeface="Wingdings" panose="05000000000000000000" pitchFamily="2" charset="2"/>
              </a:rPr>
              <a:t>Quadrupoles</a:t>
            </a:r>
            <a:r>
              <a:rPr lang="de-DE" dirty="0">
                <a:sym typeface="Wingdings" panose="05000000000000000000" pitchFamily="2" charset="2"/>
              </a:rPr>
              <a:t>, </a:t>
            </a:r>
            <a:r>
              <a:rPr lang="de-DE" dirty="0" err="1">
                <a:sym typeface="Wingdings" panose="05000000000000000000" pitchFamily="2" charset="2"/>
              </a:rPr>
              <a:t>sextupoles</a:t>
            </a:r>
            <a:r>
              <a:rPr lang="de-DE" dirty="0">
                <a:sym typeface="Wingdings" panose="05000000000000000000" pitchFamily="2" charset="2"/>
              </a:rPr>
              <a:t> and </a:t>
            </a:r>
            <a:r>
              <a:rPr lang="de-DE" dirty="0" err="1">
                <a:sym typeface="Wingdings" panose="05000000000000000000" pitchFamily="2" charset="2"/>
              </a:rPr>
              <a:t>correctors</a:t>
            </a:r>
            <a:r>
              <a:rPr lang="de-DE" dirty="0">
                <a:sym typeface="Wingdings" panose="05000000000000000000" pitchFamily="2" charset="2"/>
              </a:rPr>
              <a:t>  </a:t>
            </a:r>
            <a:r>
              <a:rPr lang="de-DE" dirty="0" err="1">
                <a:sym typeface="Wingdings" panose="05000000000000000000" pitchFamily="2" charset="2"/>
              </a:rPr>
              <a:t>offsets</a:t>
            </a:r>
            <a:r>
              <a:rPr lang="de-DE" dirty="0">
                <a:sym typeface="Wingdings" panose="05000000000000000000" pitchFamily="2" charset="2"/>
              </a:rPr>
              <a:t> in tune, </a:t>
            </a:r>
            <a:r>
              <a:rPr lang="de-DE" dirty="0" err="1">
                <a:sym typeface="Wingdings" panose="05000000000000000000" pitchFamily="2" charset="2"/>
              </a:rPr>
              <a:t>chromaticity</a:t>
            </a:r>
            <a:r>
              <a:rPr lang="de-DE" dirty="0">
                <a:sym typeface="Wingdings" panose="05000000000000000000" pitchFamily="2" charset="2"/>
              </a:rPr>
              <a:t> and </a:t>
            </a:r>
            <a:r>
              <a:rPr lang="de-DE" dirty="0" err="1">
                <a:sym typeface="Wingdings" panose="05000000000000000000" pitchFamily="2" charset="2"/>
              </a:rPr>
              <a:t>momentum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offset</a:t>
            </a:r>
            <a:r>
              <a:rPr lang="de-DE" dirty="0">
                <a:sym typeface="Wingdings" panose="05000000000000000000" pitchFamily="2" charset="2"/>
              </a:rPr>
              <a:t> possible </a:t>
            </a:r>
            <a:endParaRPr lang="de-DE" dirty="0">
              <a:cs typeface="Arial"/>
            </a:endParaRPr>
          </a:p>
          <a:p>
            <a:pPr lvl="1" indent="-271145"/>
            <a:r>
              <a:rPr lang="de-DE" b="1" dirty="0">
                <a:ea typeface="+mn-lt"/>
                <a:cs typeface="+mn-lt"/>
                <a:sym typeface="Wingdings" panose="05000000000000000000" pitchFamily="2" charset="2"/>
              </a:rPr>
              <a:t>Hysteresis </a:t>
            </a:r>
            <a:r>
              <a:rPr lang="de-DE" b="1" dirty="0" err="1">
                <a:sym typeface="Wingdings" panose="05000000000000000000" pitchFamily="2" charset="2"/>
              </a:rPr>
              <a:t>effects</a:t>
            </a:r>
            <a:r>
              <a:rPr lang="de-DE" b="1" dirty="0">
                <a:sym typeface="Wingdings" panose="05000000000000000000" pitchFamily="2" charset="2"/>
              </a:rPr>
              <a:t> </a:t>
            </a:r>
            <a:endParaRPr lang="de-DE" b="1" dirty="0">
              <a:cs typeface="Arial" panose="020B0604020202020204"/>
            </a:endParaRPr>
          </a:p>
          <a:p>
            <a:pPr lvl="1" indent="-271145"/>
            <a:endParaRPr lang="de-DE">
              <a:cs typeface="Arial" panose="020B0604020202020204"/>
            </a:endParaRPr>
          </a:p>
          <a:p>
            <a:pPr marL="804545" lvl="2"/>
            <a:endParaRPr lang="en-US">
              <a:cs typeface="Arial" panose="020B0604020202020204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1397FAB-F53C-C50D-F2FF-F9B96D3327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0977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 err="1">
                <a:cs typeface="Arial"/>
              </a:rPr>
              <a:t>Developments</a:t>
            </a:r>
            <a:r>
              <a:rPr lang="de-DE">
                <a:cs typeface="Arial"/>
              </a:rPr>
              <a:t> </a:t>
            </a:r>
            <a:r>
              <a:rPr lang="de-DE" err="1">
                <a:cs typeface="Arial"/>
              </a:rPr>
              <a:t>for</a:t>
            </a:r>
            <a:r>
              <a:rPr lang="de-DE">
                <a:cs typeface="Arial"/>
              </a:rPr>
              <a:t> RFKO MEE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 vert="horz" lIns="0" tIns="0" rIns="0" bIns="0" rtlCol="0" anchor="t">
            <a:noAutofit/>
          </a:bodyPr>
          <a:lstStyle/>
          <a:p>
            <a:pPr marL="269875" indent="-269875"/>
            <a:r>
              <a:rPr lang="de-DE" u="sng" dirty="0" err="1"/>
              <a:t>Implications</a:t>
            </a:r>
            <a:r>
              <a:rPr lang="de-DE" u="sng" dirty="0"/>
              <a:t> </a:t>
            </a:r>
            <a:r>
              <a:rPr lang="de-DE" u="sng" dirty="0" err="1"/>
              <a:t>of</a:t>
            </a:r>
            <a:r>
              <a:rPr lang="de-DE" u="sng" dirty="0"/>
              <a:t> </a:t>
            </a:r>
            <a:r>
              <a:rPr lang="de-DE" u="sng" dirty="0" err="1"/>
              <a:t>setup</a:t>
            </a:r>
            <a:endParaRPr lang="de-DE" u="sng" dirty="0" err="1">
              <a:cs typeface="Arial"/>
            </a:endParaRPr>
          </a:p>
          <a:p>
            <a:pPr lvl="1" indent="-271145"/>
            <a:r>
              <a:rPr lang="de-DE" dirty="0"/>
              <a:t>All </a:t>
            </a:r>
            <a:r>
              <a:rPr lang="de-DE" dirty="0" err="1"/>
              <a:t>main</a:t>
            </a:r>
            <a:r>
              <a:rPr lang="de-DE" dirty="0"/>
              <a:t> ring </a:t>
            </a:r>
            <a:r>
              <a:rPr lang="de-DE" dirty="0" err="1"/>
              <a:t>magnet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regulated</a:t>
            </a:r>
            <a:r>
              <a:rPr lang="de-DE" dirty="0"/>
              <a:t> </a:t>
            </a:r>
            <a:endParaRPr lang="de-DE" dirty="0">
              <a:cs typeface="Arial" panose="020B0604020202020204"/>
            </a:endParaRPr>
          </a:p>
          <a:p>
            <a:pPr lvl="1" indent="-271145"/>
            <a:r>
              <a:rPr lang="de-DE" strike="sngStrike" dirty="0"/>
              <a:t>Possible </a:t>
            </a:r>
            <a:r>
              <a:rPr lang="de-DE" strike="sngStrike" dirty="0" err="1"/>
              <a:t>mismatches</a:t>
            </a:r>
            <a:r>
              <a:rPr lang="de-DE" strike="sngStrike" dirty="0"/>
              <a:t> in </a:t>
            </a:r>
            <a:r>
              <a:rPr lang="de-DE" strike="sngStrike" dirty="0" err="1"/>
              <a:t>energy</a:t>
            </a:r>
            <a:r>
              <a:rPr lang="de-DE" strike="sngStrike" dirty="0"/>
              <a:t> </a:t>
            </a:r>
            <a:r>
              <a:rPr lang="de-DE" dirty="0">
                <a:sym typeface="Wingdings" panose="05000000000000000000" pitchFamily="2" charset="2"/>
              </a:rPr>
              <a:t> B-</a:t>
            </a:r>
            <a:r>
              <a:rPr lang="de-DE" dirty="0" err="1">
                <a:sym typeface="Wingdings" panose="05000000000000000000" pitchFamily="2" charset="2"/>
              </a:rPr>
              <a:t>field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regulation</a:t>
            </a:r>
            <a:r>
              <a:rPr lang="de-DE" dirty="0">
                <a:sym typeface="Wingdings" panose="05000000000000000000" pitchFamily="2" charset="2"/>
              </a:rPr>
              <a:t> in </a:t>
            </a:r>
            <a:r>
              <a:rPr lang="de-DE" dirty="0" err="1">
                <a:sym typeface="Wingdings" panose="05000000000000000000" pitchFamily="2" charset="2"/>
              </a:rPr>
              <a:t>nea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future</a:t>
            </a:r>
            <a:endParaRPr lang="de-DE" dirty="0">
              <a:cs typeface="Arial" panose="020B0604020202020204"/>
            </a:endParaRPr>
          </a:p>
          <a:p>
            <a:pPr lvl="1" indent="-271145"/>
            <a:r>
              <a:rPr lang="de-DE" dirty="0" err="1">
                <a:sym typeface="Wingdings" panose="05000000000000000000" pitchFamily="2" charset="2"/>
              </a:rPr>
              <a:t>Quadrupoles</a:t>
            </a:r>
            <a:r>
              <a:rPr lang="de-DE" dirty="0">
                <a:sym typeface="Wingdings" panose="05000000000000000000" pitchFamily="2" charset="2"/>
              </a:rPr>
              <a:t>, </a:t>
            </a:r>
            <a:r>
              <a:rPr lang="de-DE" dirty="0" err="1">
                <a:sym typeface="Wingdings" panose="05000000000000000000" pitchFamily="2" charset="2"/>
              </a:rPr>
              <a:t>sextupoles</a:t>
            </a:r>
            <a:r>
              <a:rPr lang="de-DE" dirty="0">
                <a:sym typeface="Wingdings" panose="05000000000000000000" pitchFamily="2" charset="2"/>
              </a:rPr>
              <a:t> and </a:t>
            </a:r>
            <a:r>
              <a:rPr lang="de-DE" dirty="0" err="1">
                <a:sym typeface="Wingdings" panose="05000000000000000000" pitchFamily="2" charset="2"/>
              </a:rPr>
              <a:t>correctors</a:t>
            </a:r>
            <a:r>
              <a:rPr lang="de-DE" dirty="0">
                <a:sym typeface="Wingdings" panose="05000000000000000000" pitchFamily="2" charset="2"/>
              </a:rPr>
              <a:t>  </a:t>
            </a:r>
            <a:r>
              <a:rPr lang="de-DE" dirty="0" err="1">
                <a:sym typeface="Wingdings" panose="05000000000000000000" pitchFamily="2" charset="2"/>
              </a:rPr>
              <a:t>offsets</a:t>
            </a:r>
            <a:r>
              <a:rPr lang="de-DE" dirty="0">
                <a:sym typeface="Wingdings" panose="05000000000000000000" pitchFamily="2" charset="2"/>
              </a:rPr>
              <a:t> in tune, </a:t>
            </a:r>
            <a:r>
              <a:rPr lang="de-DE" dirty="0" err="1">
                <a:sym typeface="Wingdings" panose="05000000000000000000" pitchFamily="2" charset="2"/>
              </a:rPr>
              <a:t>chromaticity</a:t>
            </a:r>
            <a:r>
              <a:rPr lang="de-DE" dirty="0">
                <a:sym typeface="Wingdings" panose="05000000000000000000" pitchFamily="2" charset="2"/>
              </a:rPr>
              <a:t> and </a:t>
            </a:r>
            <a:r>
              <a:rPr lang="de-DE" dirty="0" err="1">
                <a:sym typeface="Wingdings" panose="05000000000000000000" pitchFamily="2" charset="2"/>
              </a:rPr>
              <a:t>momentum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offset</a:t>
            </a:r>
            <a:r>
              <a:rPr lang="de-DE" dirty="0">
                <a:sym typeface="Wingdings" panose="05000000000000000000" pitchFamily="2" charset="2"/>
              </a:rPr>
              <a:t> possible </a:t>
            </a:r>
            <a:endParaRPr lang="de-DE" dirty="0">
              <a:cs typeface="Arial"/>
            </a:endParaRPr>
          </a:p>
          <a:p>
            <a:pPr lvl="1" indent="-271145"/>
            <a:r>
              <a:rPr lang="de-DE" b="1" dirty="0">
                <a:ea typeface="+mn-lt"/>
                <a:cs typeface="+mn-lt"/>
                <a:sym typeface="Wingdings" panose="05000000000000000000" pitchFamily="2" charset="2"/>
              </a:rPr>
              <a:t>Hysteresis </a:t>
            </a:r>
            <a:r>
              <a:rPr lang="de-DE" b="1" dirty="0" err="1">
                <a:sym typeface="Wingdings" panose="05000000000000000000" pitchFamily="2" charset="2"/>
              </a:rPr>
              <a:t>effects</a:t>
            </a:r>
            <a:r>
              <a:rPr lang="de-DE" b="1" dirty="0">
                <a:sym typeface="Wingdings" panose="05000000000000000000" pitchFamily="2" charset="2"/>
              </a:rPr>
              <a:t> </a:t>
            </a:r>
            <a:endParaRPr lang="de-DE" b="1" dirty="0">
              <a:cs typeface="Arial" panose="020B0604020202020204"/>
            </a:endParaRPr>
          </a:p>
          <a:p>
            <a:pPr lvl="1" indent="-271145"/>
            <a:endParaRPr lang="de-DE" b="1">
              <a:cs typeface="Arial" panose="020B0604020202020204"/>
            </a:endParaRPr>
          </a:p>
          <a:p>
            <a:pPr marL="269875" indent="-269875"/>
            <a:r>
              <a:rPr lang="de-DE" u="sng" dirty="0">
                <a:sym typeface="Wingdings" panose="05000000000000000000" pitchFamily="2" charset="2"/>
              </a:rPr>
              <a:t>Open </a:t>
            </a:r>
            <a:r>
              <a:rPr lang="de-DE" u="sng" dirty="0" err="1">
                <a:sym typeface="Wingdings" panose="05000000000000000000" pitchFamily="2" charset="2"/>
              </a:rPr>
              <a:t>questions</a:t>
            </a:r>
            <a:endParaRPr lang="de-DE" u="sng" dirty="0">
              <a:cs typeface="Arial" panose="020B0604020202020204"/>
            </a:endParaRPr>
          </a:p>
          <a:p>
            <a:pPr lvl="1" indent="-271145"/>
            <a:r>
              <a:rPr lang="de-DE" b="1" dirty="0"/>
              <a:t>Speed </a:t>
            </a:r>
            <a:r>
              <a:rPr lang="de-DE" b="1" dirty="0" err="1"/>
              <a:t>limitations</a:t>
            </a:r>
            <a:endParaRPr lang="de-DE" b="1" dirty="0">
              <a:cs typeface="Arial" panose="020B0604020202020204"/>
            </a:endParaRPr>
          </a:p>
          <a:p>
            <a:pPr marL="804545" lvl="2"/>
            <a:r>
              <a:rPr lang="de-DE" dirty="0" err="1"/>
              <a:t>Ramp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ipoles</a:t>
            </a:r>
            <a:r>
              <a:rPr lang="de-DE" dirty="0"/>
              <a:t>: </a:t>
            </a:r>
            <a:r>
              <a:rPr lang="de-DE" dirty="0" err="1"/>
              <a:t>defini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waveform</a:t>
            </a:r>
            <a:r>
              <a:rPr lang="de-DE" dirty="0"/>
              <a:t> (</a:t>
            </a:r>
            <a:r>
              <a:rPr lang="de-DE" dirty="0" err="1"/>
              <a:t>steps</a:t>
            </a:r>
            <a:r>
              <a:rPr lang="de-DE" dirty="0"/>
              <a:t>, </a:t>
            </a:r>
            <a:r>
              <a:rPr lang="de-DE" dirty="0" err="1"/>
              <a:t>round</a:t>
            </a:r>
            <a:r>
              <a:rPr lang="de-DE" dirty="0"/>
              <a:t> off)</a:t>
            </a:r>
            <a:endParaRPr lang="de-DE" dirty="0">
              <a:cs typeface="Arial"/>
            </a:endParaRPr>
          </a:p>
          <a:p>
            <a:pPr marL="804545" lvl="2"/>
            <a:r>
              <a:rPr lang="de-DE" dirty="0" err="1"/>
              <a:t>Repeated</a:t>
            </a:r>
            <a:r>
              <a:rPr lang="de-DE" dirty="0"/>
              <a:t> </a:t>
            </a:r>
            <a:r>
              <a:rPr lang="de-DE" dirty="0" err="1"/>
              <a:t>ramp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extupole</a:t>
            </a:r>
            <a:r>
              <a:rPr lang="de-DE" dirty="0"/>
              <a:t> </a:t>
            </a:r>
            <a:r>
              <a:rPr lang="de-DE" dirty="0" err="1"/>
              <a:t>necessary</a:t>
            </a:r>
            <a:r>
              <a:rPr lang="de-DE" dirty="0"/>
              <a:t>? </a:t>
            </a:r>
            <a:endParaRPr lang="de-DE" dirty="0">
              <a:cs typeface="Arial" panose="020B0604020202020204"/>
            </a:endParaRPr>
          </a:p>
          <a:p>
            <a:pPr lvl="1" indent="-271145"/>
            <a:r>
              <a:rPr lang="de-DE" b="1" dirty="0" err="1"/>
              <a:t>Sensitivity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</a:t>
            </a:r>
            <a:r>
              <a:rPr lang="de-DE" b="1" dirty="0" err="1"/>
              <a:t>mismatches</a:t>
            </a:r>
            <a:r>
              <a:rPr lang="de-DE" b="1" dirty="0"/>
              <a:t> </a:t>
            </a:r>
            <a:endParaRPr lang="de-DE" b="1" dirty="0">
              <a:cs typeface="Arial" panose="020B0604020202020204"/>
            </a:endParaRPr>
          </a:p>
          <a:p>
            <a:pPr marL="804545" lvl="2"/>
            <a:r>
              <a:rPr lang="de-DE" dirty="0" err="1"/>
              <a:t>Caus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hystersis</a:t>
            </a:r>
            <a:r>
              <a:rPr lang="de-DE" dirty="0"/>
              <a:t> </a:t>
            </a:r>
            <a:r>
              <a:rPr lang="de-DE" dirty="0" err="1"/>
              <a:t>effects</a:t>
            </a:r>
            <a:r>
              <a:rPr lang="de-DE" dirty="0"/>
              <a:t>? </a:t>
            </a:r>
            <a:endParaRPr lang="de-DE" dirty="0">
              <a:cs typeface="Arial" panose="020B0604020202020204"/>
            </a:endParaRPr>
          </a:p>
          <a:p>
            <a:pPr lvl="1" indent="-271145"/>
            <a:r>
              <a:rPr lang="de-DE" b="1" dirty="0" err="1"/>
              <a:t>Suitable</a:t>
            </a:r>
            <a:r>
              <a:rPr lang="de-DE" b="1" dirty="0"/>
              <a:t> RFKO </a:t>
            </a:r>
            <a:r>
              <a:rPr lang="de-DE" b="1" dirty="0" err="1"/>
              <a:t>excitation</a:t>
            </a:r>
            <a:endParaRPr lang="de-DE" b="1" dirty="0">
              <a:cs typeface="Arial" panose="020B0604020202020204"/>
            </a:endParaRPr>
          </a:p>
          <a:p>
            <a:pPr lvl="1" indent="-271145"/>
            <a:endParaRPr lang="de-DE">
              <a:cs typeface="Arial" panose="020B0604020202020204"/>
            </a:endParaRPr>
          </a:p>
          <a:p>
            <a:pPr marL="804545" lvl="2"/>
            <a:endParaRPr lang="en-US">
              <a:cs typeface="Arial" panose="020B0604020202020204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73340CB-B526-76A9-5747-EACEB9B529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3277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1261AE4-72B7-EDA1-CA50-31C3D39A49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216" b="24462"/>
          <a:stretch>
            <a:fillRect/>
          </a:stretch>
        </p:blipFill>
        <p:spPr>
          <a:xfrm>
            <a:off x="758605" y="3709134"/>
            <a:ext cx="6010331" cy="2454771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 err="1"/>
              <a:t>Xsuite</a:t>
            </a:r>
            <a:r>
              <a:rPr lang="de-DE"/>
              <a:t> </a:t>
            </a:r>
            <a:r>
              <a:rPr lang="de-DE" err="1"/>
              <a:t>Simulations</a:t>
            </a:r>
            <a:endParaRPr lang="en-US" err="1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614417" y="1350987"/>
            <a:ext cx="7098041" cy="4710572"/>
          </a:xfrm>
        </p:spPr>
        <p:txBody>
          <a:bodyPr vert="horz" lIns="0" tIns="0" rIns="0" bIns="0" rtlCol="0" anchor="t">
            <a:noAutofit/>
          </a:bodyPr>
          <a:lstStyle/>
          <a:p>
            <a:pPr marL="269875" indent="-269875"/>
            <a:r>
              <a:rPr lang="de-DE" b="1" dirty="0"/>
              <a:t>Time </a:t>
            </a:r>
            <a:r>
              <a:rPr lang="de-DE" b="1" dirty="0" err="1"/>
              <a:t>dependent</a:t>
            </a:r>
            <a:r>
              <a:rPr lang="de-DE" dirty="0"/>
              <a:t> 6D </a:t>
            </a:r>
            <a:r>
              <a:rPr lang="de-DE" dirty="0" err="1"/>
              <a:t>particle</a:t>
            </a:r>
            <a:r>
              <a:rPr lang="de-DE" dirty="0"/>
              <a:t> </a:t>
            </a:r>
            <a:r>
              <a:rPr lang="de-DE" dirty="0" err="1"/>
              <a:t>tracking</a:t>
            </a:r>
            <a:r>
              <a:rPr lang="de-DE" dirty="0"/>
              <a:t> [7]</a:t>
            </a:r>
            <a:endParaRPr lang="en-US" dirty="0"/>
          </a:p>
          <a:p>
            <a:pPr marL="269875" indent="-269875"/>
            <a:r>
              <a:rPr lang="de-DE" dirty="0" err="1"/>
              <a:t>Beneficial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studies</a:t>
            </a:r>
            <a:endParaRPr lang="de-DE" dirty="0">
              <a:cs typeface="Arial" panose="020B0604020202020204"/>
            </a:endParaRPr>
          </a:p>
          <a:p>
            <a:pPr lvl="1" indent="-271145"/>
            <a:r>
              <a:rPr lang="de-DE" dirty="0"/>
              <a:t>MEE: </a:t>
            </a:r>
            <a:r>
              <a:rPr lang="de-DE" dirty="0" err="1"/>
              <a:t>ramp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lements</a:t>
            </a:r>
            <a:r>
              <a:rPr lang="de-DE" dirty="0"/>
              <a:t> </a:t>
            </a:r>
            <a:endParaRPr lang="de-DE" dirty="0">
              <a:cs typeface="Arial"/>
            </a:endParaRPr>
          </a:p>
          <a:p>
            <a:pPr lvl="1" indent="-271145"/>
            <a:r>
              <a:rPr lang="de-DE" dirty="0"/>
              <a:t>RFKO: fast-</a:t>
            </a:r>
            <a:r>
              <a:rPr lang="de-DE" dirty="0" err="1"/>
              <a:t>changing</a:t>
            </a:r>
            <a:r>
              <a:rPr lang="de-DE" dirty="0"/>
              <a:t> </a:t>
            </a:r>
            <a:r>
              <a:rPr lang="de-DE" dirty="0" err="1"/>
              <a:t>exciter</a:t>
            </a:r>
            <a:r>
              <a:rPr lang="de-DE" dirty="0"/>
              <a:t> </a:t>
            </a:r>
            <a:r>
              <a:rPr lang="de-DE" dirty="0" err="1"/>
              <a:t>element</a:t>
            </a:r>
            <a:r>
              <a:rPr lang="de-DE" dirty="0"/>
              <a:t> </a:t>
            </a:r>
            <a:endParaRPr lang="de-DE" dirty="0">
              <a:cs typeface="Arial" panose="020B0604020202020204"/>
            </a:endParaRPr>
          </a:p>
          <a:p>
            <a:pPr marL="269875" indent="-269875"/>
            <a:r>
              <a:rPr lang="de-DE" dirty="0"/>
              <a:t>Special </a:t>
            </a:r>
            <a:r>
              <a:rPr lang="de-DE" dirty="0" err="1"/>
              <a:t>characteristics</a:t>
            </a:r>
            <a:r>
              <a:rPr lang="de-DE" dirty="0"/>
              <a:t> in PIMMS</a:t>
            </a:r>
            <a:endParaRPr lang="de-DE" dirty="0">
              <a:cs typeface="Arial" panose="020B0604020202020204"/>
            </a:endParaRPr>
          </a:p>
          <a:p>
            <a:pPr lvl="1" indent="-271145"/>
            <a:r>
              <a:rPr lang="de-DE" dirty="0"/>
              <a:t>Radial </a:t>
            </a:r>
            <a:r>
              <a:rPr lang="de-DE" dirty="0" err="1"/>
              <a:t>regulation</a:t>
            </a:r>
            <a:r>
              <a:rPr lang="de-DE" dirty="0"/>
              <a:t> loop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b="1" dirty="0"/>
              <a:t>off-</a:t>
            </a:r>
            <a:r>
              <a:rPr lang="de-DE" b="1" dirty="0" err="1"/>
              <a:t>momentum</a:t>
            </a:r>
            <a:r>
              <a:rPr lang="de-DE" dirty="0"/>
              <a:t> </a:t>
            </a:r>
            <a:r>
              <a:rPr lang="de-DE" dirty="0" err="1"/>
              <a:t>operation</a:t>
            </a:r>
            <a:endParaRPr lang="de-DE" dirty="0">
              <a:cs typeface="Arial" panose="020B0604020202020204"/>
            </a:endParaRPr>
          </a:p>
          <a:p>
            <a:pPr lvl="1" indent="-271145"/>
            <a:r>
              <a:rPr lang="de-DE" dirty="0" err="1"/>
              <a:t>ZetaShift</a:t>
            </a:r>
            <a:r>
              <a:rPr lang="de-DE" dirty="0"/>
              <a:t> </a:t>
            </a:r>
            <a:r>
              <a:rPr lang="de-DE" dirty="0" err="1"/>
              <a:t>shifts</a:t>
            </a:r>
            <a:r>
              <a:rPr lang="de-DE" dirty="0"/>
              <a:t> </a:t>
            </a:r>
            <a:r>
              <a:rPr lang="de-DE" dirty="0" err="1"/>
              <a:t>particles</a:t>
            </a:r>
            <a:r>
              <a:rPr lang="de-DE" dirty="0"/>
              <a:t> i.r.t. </a:t>
            </a:r>
            <a:r>
              <a:rPr lang="de-DE" dirty="0" err="1"/>
              <a:t>synchronous</a:t>
            </a:r>
            <a:r>
              <a:rPr lang="de-DE" dirty="0"/>
              <a:t> </a:t>
            </a:r>
            <a:r>
              <a:rPr lang="de-DE" dirty="0" err="1"/>
              <a:t>particle</a:t>
            </a:r>
            <a:r>
              <a:rPr lang="de-DE" dirty="0"/>
              <a:t> </a:t>
            </a:r>
            <a:endParaRPr lang="en-US" dirty="0">
              <a:cs typeface="Arial" panose="020B0604020202020204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0ACBB3-12FD-8A63-F971-BA5940FA00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6D96A15-EB71-D37E-A89E-D6519CB8CA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1521" t="93516" r="198" b="125"/>
          <a:stretch>
            <a:fillRect/>
          </a:stretch>
        </p:blipFill>
        <p:spPr>
          <a:xfrm>
            <a:off x="883601" y="6025757"/>
            <a:ext cx="5504819" cy="18337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E02030C-89D1-E95E-32E5-92D4A498EDC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406" t="8397" r="201" b="5731"/>
          <a:stretch>
            <a:fillRect/>
          </a:stretch>
        </p:blipFill>
        <p:spPr>
          <a:xfrm>
            <a:off x="7417204" y="1167056"/>
            <a:ext cx="4285761" cy="4858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1272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/>
              <a:t>System Implementation Tests: </a:t>
            </a:r>
            <a:r>
              <a:rPr lang="el-GR"/>
              <a:t>Δ</a:t>
            </a:r>
            <a:r>
              <a:rPr lang="de-DE"/>
              <a:t>E = 1 </a:t>
            </a:r>
            <a:r>
              <a:rPr lang="de-DE" err="1"/>
              <a:t>MeV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/>
          <a:lstStyle/>
          <a:p>
            <a:r>
              <a:rPr lang="de-DE"/>
              <a:t>1 </a:t>
            </a:r>
            <a:r>
              <a:rPr lang="de-DE" err="1"/>
              <a:t>MeV</a:t>
            </a:r>
            <a:r>
              <a:rPr lang="de-DE"/>
              <a:t> ≈ 1 mm </a:t>
            </a:r>
            <a:r>
              <a:rPr lang="de-DE" err="1"/>
              <a:t>depth</a:t>
            </a:r>
            <a:r>
              <a:rPr lang="de-DE"/>
              <a:t> </a:t>
            </a:r>
            <a:r>
              <a:rPr lang="de-DE" err="1"/>
              <a:t>difference</a:t>
            </a:r>
            <a:endParaRPr lang="de-DE"/>
          </a:p>
          <a:p>
            <a:endParaRPr lang="de-DE"/>
          </a:p>
          <a:p>
            <a:pPr lvl="2"/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3859" y="1842244"/>
            <a:ext cx="8165804" cy="435509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5B7C8C4-8D0F-E736-C27F-4BF667D27D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6DCABAA-D9A7-0802-1EF1-67E0BF8E3EF2}"/>
              </a:ext>
            </a:extLst>
          </p:cNvPr>
          <p:cNvSpPr txBox="1"/>
          <p:nvPr/>
        </p:nvSpPr>
        <p:spPr>
          <a:xfrm>
            <a:off x="-1" y="6003234"/>
            <a:ext cx="6268277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cs typeface="Arial"/>
              </a:rPr>
              <a:t>* </a:t>
            </a:r>
            <a:r>
              <a:rPr lang="en-US" sz="1200">
                <a:ea typeface="+mn-lt"/>
                <a:cs typeface="+mn-lt"/>
              </a:rPr>
              <a:t>Adjusted values to visualize behavior over time. </a:t>
            </a:r>
            <a:endParaRPr lang="en-US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8433165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/>
              <a:t>System Implementation Tests: </a:t>
            </a:r>
            <a:r>
              <a:rPr lang="el-GR"/>
              <a:t>Δ</a:t>
            </a:r>
            <a:r>
              <a:rPr lang="de-DE"/>
              <a:t>E = 1 </a:t>
            </a:r>
            <a:r>
              <a:rPr lang="de-DE" err="1"/>
              <a:t>MeV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/>
          <a:lstStyle/>
          <a:p>
            <a:r>
              <a:rPr lang="de-DE"/>
              <a:t>RF </a:t>
            </a:r>
            <a:r>
              <a:rPr lang="de-DE" err="1"/>
              <a:t>frequency</a:t>
            </a:r>
            <a:r>
              <a:rPr lang="de-DE"/>
              <a:t> </a:t>
            </a:r>
            <a:r>
              <a:rPr lang="de-DE" err="1"/>
              <a:t>follows</a:t>
            </a:r>
            <a:r>
              <a:rPr lang="de-DE"/>
              <a:t> </a:t>
            </a:r>
            <a:r>
              <a:rPr lang="de-DE" err="1"/>
              <a:t>current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main</a:t>
            </a:r>
            <a:r>
              <a:rPr lang="de-DE"/>
              <a:t> </a:t>
            </a:r>
            <a:r>
              <a:rPr lang="de-DE" err="1"/>
              <a:t>dipoles</a:t>
            </a:r>
            <a:endParaRPr lang="de-DE"/>
          </a:p>
          <a:p>
            <a:endParaRPr lang="de-DE"/>
          </a:p>
          <a:p>
            <a:pPr lvl="2"/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3859" y="1842244"/>
            <a:ext cx="8165803" cy="435509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6DD23BB-FE97-4420-9E7A-B798AB9BC1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6E56022-2BD5-D4B2-84F1-0C10C2FCDE80}"/>
              </a:ext>
            </a:extLst>
          </p:cNvPr>
          <p:cNvSpPr txBox="1"/>
          <p:nvPr/>
        </p:nvSpPr>
        <p:spPr>
          <a:xfrm>
            <a:off x="-1" y="6003234"/>
            <a:ext cx="6268277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cs typeface="Arial"/>
              </a:rPr>
              <a:t>* </a:t>
            </a:r>
            <a:r>
              <a:rPr lang="en-US" sz="1200">
                <a:ea typeface="+mn-lt"/>
                <a:cs typeface="+mn-lt"/>
              </a:rPr>
              <a:t>Adjusted values to visualize behavior over time. </a:t>
            </a:r>
            <a:endParaRPr lang="en-US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8860406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/>
              <a:t>System Implementation Tests: </a:t>
            </a:r>
            <a:r>
              <a:rPr lang="el-GR"/>
              <a:t>Δ</a:t>
            </a:r>
            <a:r>
              <a:rPr lang="de-DE"/>
              <a:t>E = 1 </a:t>
            </a:r>
            <a:r>
              <a:rPr lang="de-DE" err="1"/>
              <a:t>MeV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/>
          <a:lstStyle/>
          <a:p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losses</a:t>
            </a:r>
            <a:r>
              <a:rPr lang="de-DE"/>
              <a:t> </a:t>
            </a:r>
            <a:r>
              <a:rPr lang="de-DE" err="1"/>
              <a:t>during</a:t>
            </a:r>
            <a:r>
              <a:rPr lang="de-DE"/>
              <a:t> </a:t>
            </a:r>
            <a:r>
              <a:rPr lang="de-DE" err="1"/>
              <a:t>energy</a:t>
            </a:r>
            <a:r>
              <a:rPr lang="de-DE"/>
              <a:t> </a:t>
            </a:r>
            <a:r>
              <a:rPr lang="de-DE" err="1"/>
              <a:t>change</a:t>
            </a:r>
            <a:endParaRPr lang="de-DE"/>
          </a:p>
          <a:p>
            <a:endParaRPr lang="de-DE"/>
          </a:p>
          <a:p>
            <a:pPr lvl="2"/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3860" y="1842244"/>
            <a:ext cx="8165802" cy="435509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6D1E291-BB4D-3F6E-AD7D-DF3F717E44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8986FD7-CD65-63F0-D4B2-429E20D377BF}"/>
              </a:ext>
            </a:extLst>
          </p:cNvPr>
          <p:cNvSpPr txBox="1"/>
          <p:nvPr/>
        </p:nvSpPr>
        <p:spPr>
          <a:xfrm>
            <a:off x="-1" y="6003234"/>
            <a:ext cx="6268277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cs typeface="Arial"/>
              </a:rPr>
              <a:t>* </a:t>
            </a:r>
            <a:r>
              <a:rPr lang="en-US" sz="1200">
                <a:ea typeface="+mn-lt"/>
                <a:cs typeface="+mn-lt"/>
              </a:rPr>
              <a:t>Adjusted values to visualize behavior over time. </a:t>
            </a:r>
            <a:endParaRPr lang="en-US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1546469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/>
              <a:t>System Implementation Tests: </a:t>
            </a:r>
            <a:r>
              <a:rPr lang="el-GR"/>
              <a:t>Δ</a:t>
            </a:r>
            <a:r>
              <a:rPr lang="de-DE"/>
              <a:t>E = 1 </a:t>
            </a:r>
            <a:r>
              <a:rPr lang="de-DE" err="1"/>
              <a:t>MeV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 vert="horz" lIns="0" tIns="0" rIns="0" bIns="0" rtlCol="0" anchor="t">
            <a:noAutofit/>
          </a:bodyPr>
          <a:lstStyle/>
          <a:p>
            <a:pPr marL="269875" indent="-269875"/>
            <a:r>
              <a:rPr lang="de-DE"/>
              <a:t>Ramp </a:t>
            </a:r>
            <a:r>
              <a:rPr lang="de-DE" err="1"/>
              <a:t>of</a:t>
            </a:r>
            <a:r>
              <a:rPr lang="de-DE"/>
              <a:t> resonant </a:t>
            </a:r>
            <a:r>
              <a:rPr lang="de-DE" err="1"/>
              <a:t>sextupole</a:t>
            </a:r>
            <a:r>
              <a:rPr lang="de-DE"/>
              <a:t> and </a:t>
            </a:r>
            <a:r>
              <a:rPr lang="de-DE" err="1"/>
              <a:t>gated</a:t>
            </a:r>
            <a:r>
              <a:rPr lang="de-DE"/>
              <a:t> </a:t>
            </a:r>
            <a:r>
              <a:rPr lang="de-DE" err="1"/>
              <a:t>application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RFKO </a:t>
            </a:r>
            <a:r>
              <a:rPr lang="de-DE" err="1"/>
              <a:t>signal</a:t>
            </a:r>
            <a:endParaRPr lang="de-DE">
              <a:cs typeface="Arial" panose="020B0604020202020204"/>
            </a:endParaRPr>
          </a:p>
          <a:p>
            <a:pPr marL="804545" lvl="2"/>
            <a:endParaRPr lang="en-US">
              <a:cs typeface="Arial" panose="020B0604020202020204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3860" y="1842244"/>
            <a:ext cx="8165801" cy="435509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D3FE091-29EF-FF46-4C85-3FBAF3FCB4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  <p:sp>
        <p:nvSpPr>
          <p:cNvPr id="9" name="Star: 5 Points 8">
            <a:extLst>
              <a:ext uri="{FF2B5EF4-FFF2-40B4-BE49-F238E27FC236}">
                <a16:creationId xmlns:a16="http://schemas.microsoft.com/office/drawing/2014/main" id="{CC8CEA70-22B1-C6D8-5B73-6809B4812128}"/>
              </a:ext>
            </a:extLst>
          </p:cNvPr>
          <p:cNvSpPr/>
          <p:nvPr/>
        </p:nvSpPr>
        <p:spPr>
          <a:xfrm>
            <a:off x="10301842" y="1909945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021413-2C36-A666-DC5A-0D92D9701FB8}"/>
              </a:ext>
            </a:extLst>
          </p:cNvPr>
          <p:cNvSpPr txBox="1"/>
          <p:nvPr/>
        </p:nvSpPr>
        <p:spPr>
          <a:xfrm>
            <a:off x="10420596" y="1781300"/>
            <a:ext cx="183077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RFKO signal on</a:t>
            </a:r>
            <a:endParaRPr lang="en-US"/>
          </a:p>
        </p:txBody>
      </p:sp>
      <p:sp>
        <p:nvSpPr>
          <p:cNvPr id="17" name="Star: 5 Points 16">
            <a:extLst>
              <a:ext uri="{FF2B5EF4-FFF2-40B4-BE49-F238E27FC236}">
                <a16:creationId xmlns:a16="http://schemas.microsoft.com/office/drawing/2014/main" id="{F4CD6E55-CFBD-178B-B6A8-01B1FF861F73}"/>
              </a:ext>
            </a:extLst>
          </p:cNvPr>
          <p:cNvSpPr/>
          <p:nvPr/>
        </p:nvSpPr>
        <p:spPr>
          <a:xfrm>
            <a:off x="10301842" y="2276101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FA7EA88-9ACF-3BF0-D818-D790CE0CC7A3}"/>
              </a:ext>
            </a:extLst>
          </p:cNvPr>
          <p:cNvSpPr txBox="1"/>
          <p:nvPr/>
        </p:nvSpPr>
        <p:spPr>
          <a:xfrm>
            <a:off x="10420598" y="2147454"/>
            <a:ext cx="183077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RFKO signal off</a:t>
            </a:r>
            <a:endParaRPr lang="en-US"/>
          </a:p>
        </p:txBody>
      </p:sp>
      <p:sp>
        <p:nvSpPr>
          <p:cNvPr id="15" name="Star: 5 Points 14">
            <a:extLst>
              <a:ext uri="{FF2B5EF4-FFF2-40B4-BE49-F238E27FC236}">
                <a16:creationId xmlns:a16="http://schemas.microsoft.com/office/drawing/2014/main" id="{9D0EBE96-C23C-4E10-8E99-2A80624B4F12}"/>
              </a:ext>
            </a:extLst>
          </p:cNvPr>
          <p:cNvSpPr/>
          <p:nvPr/>
        </p:nvSpPr>
        <p:spPr>
          <a:xfrm>
            <a:off x="2756930" y="2731694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Star: 5 Points 19">
            <a:extLst>
              <a:ext uri="{FF2B5EF4-FFF2-40B4-BE49-F238E27FC236}">
                <a16:creationId xmlns:a16="http://schemas.microsoft.com/office/drawing/2014/main" id="{2B388990-9881-A202-A188-22DDD318B28F}"/>
              </a:ext>
            </a:extLst>
          </p:cNvPr>
          <p:cNvSpPr/>
          <p:nvPr/>
        </p:nvSpPr>
        <p:spPr>
          <a:xfrm>
            <a:off x="4544784" y="3166751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Star: 5 Points 21">
            <a:extLst>
              <a:ext uri="{FF2B5EF4-FFF2-40B4-BE49-F238E27FC236}">
                <a16:creationId xmlns:a16="http://schemas.microsoft.com/office/drawing/2014/main" id="{B0D5D10E-1715-36D9-888F-68DBDA7D8CEF}"/>
              </a:ext>
            </a:extLst>
          </p:cNvPr>
          <p:cNvSpPr/>
          <p:nvPr/>
        </p:nvSpPr>
        <p:spPr>
          <a:xfrm>
            <a:off x="6756315" y="4532413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Star: 5 Points 23">
            <a:extLst>
              <a:ext uri="{FF2B5EF4-FFF2-40B4-BE49-F238E27FC236}">
                <a16:creationId xmlns:a16="http://schemas.microsoft.com/office/drawing/2014/main" id="{F8804C2C-BA93-14A7-28E0-406B5EA3127F}"/>
              </a:ext>
            </a:extLst>
          </p:cNvPr>
          <p:cNvSpPr/>
          <p:nvPr/>
        </p:nvSpPr>
        <p:spPr>
          <a:xfrm>
            <a:off x="2986395" y="3166751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Star: 5 Points 25">
            <a:extLst>
              <a:ext uri="{FF2B5EF4-FFF2-40B4-BE49-F238E27FC236}">
                <a16:creationId xmlns:a16="http://schemas.microsoft.com/office/drawing/2014/main" id="{5E78ECBA-4AD7-76F2-58A5-01496AC0BD2C}"/>
              </a:ext>
            </a:extLst>
          </p:cNvPr>
          <p:cNvSpPr/>
          <p:nvPr/>
        </p:nvSpPr>
        <p:spPr>
          <a:xfrm>
            <a:off x="6882367" y="4651166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Star: 5 Points 27">
            <a:extLst>
              <a:ext uri="{FF2B5EF4-FFF2-40B4-BE49-F238E27FC236}">
                <a16:creationId xmlns:a16="http://schemas.microsoft.com/office/drawing/2014/main" id="{E875656A-15B0-63E2-5568-34431A37E329}"/>
              </a:ext>
            </a:extLst>
          </p:cNvPr>
          <p:cNvSpPr/>
          <p:nvPr/>
        </p:nvSpPr>
        <p:spPr>
          <a:xfrm>
            <a:off x="4818534" y="4532412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C422975-A58B-8456-C07C-C68E873DCED1}"/>
              </a:ext>
            </a:extLst>
          </p:cNvPr>
          <p:cNvSpPr txBox="1"/>
          <p:nvPr/>
        </p:nvSpPr>
        <p:spPr>
          <a:xfrm>
            <a:off x="-1" y="6003234"/>
            <a:ext cx="6268277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cs typeface="Arial"/>
              </a:rPr>
              <a:t>* </a:t>
            </a:r>
            <a:r>
              <a:rPr lang="en-US" sz="1200">
                <a:ea typeface="+mn-lt"/>
                <a:cs typeface="+mn-lt"/>
              </a:rPr>
              <a:t>Adjusted values to visualize behavior over time. </a:t>
            </a:r>
            <a:endParaRPr lang="en-US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3916506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/>
              <a:t>System Implementation Tests: </a:t>
            </a:r>
            <a:r>
              <a:rPr lang="el-GR"/>
              <a:t>Δ</a:t>
            </a:r>
            <a:r>
              <a:rPr lang="de-DE"/>
              <a:t>E = 1 </a:t>
            </a:r>
            <a:r>
              <a:rPr lang="de-DE" err="1"/>
              <a:t>MeV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/>
          <a:lstStyle/>
          <a:p>
            <a:r>
              <a:rPr lang="de-DE"/>
              <a:t>Transfer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rradiation</a:t>
            </a:r>
            <a:r>
              <a:rPr lang="de-DE"/>
              <a:t> </a:t>
            </a:r>
            <a:r>
              <a:rPr lang="de-DE" err="1"/>
              <a:t>room</a:t>
            </a:r>
            <a:r>
              <a:rPr lang="de-DE"/>
              <a:t> (IR) </a:t>
            </a:r>
            <a:r>
              <a:rPr lang="de-DE" err="1"/>
              <a:t>configured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second</a:t>
            </a:r>
            <a:r>
              <a:rPr lang="de-DE"/>
              <a:t> </a:t>
            </a:r>
            <a:r>
              <a:rPr lang="de-DE" err="1"/>
              <a:t>energy</a:t>
            </a:r>
            <a:r>
              <a:rPr lang="de-DE"/>
              <a:t> </a:t>
            </a:r>
          </a:p>
          <a:p>
            <a:pPr lvl="2"/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3860" y="1842244"/>
            <a:ext cx="8165801" cy="435509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2C79465-14BB-6F0A-9C9F-1D856C0231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  <p:sp>
        <p:nvSpPr>
          <p:cNvPr id="16" name="Star: 5 Points 15">
            <a:extLst>
              <a:ext uri="{FF2B5EF4-FFF2-40B4-BE49-F238E27FC236}">
                <a16:creationId xmlns:a16="http://schemas.microsoft.com/office/drawing/2014/main" id="{6934A737-2622-C7A1-081E-F9B29874F52A}"/>
              </a:ext>
            </a:extLst>
          </p:cNvPr>
          <p:cNvSpPr/>
          <p:nvPr/>
        </p:nvSpPr>
        <p:spPr>
          <a:xfrm>
            <a:off x="10301842" y="1909945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7AAA668-E30D-656A-7B0E-91379E66DD90}"/>
              </a:ext>
            </a:extLst>
          </p:cNvPr>
          <p:cNvSpPr txBox="1"/>
          <p:nvPr/>
        </p:nvSpPr>
        <p:spPr>
          <a:xfrm>
            <a:off x="10420596" y="1781300"/>
            <a:ext cx="183077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RFKO signal on</a:t>
            </a:r>
            <a:endParaRPr lang="en-US"/>
          </a:p>
        </p:txBody>
      </p:sp>
      <p:sp>
        <p:nvSpPr>
          <p:cNvPr id="26" name="Star: 5 Points 25">
            <a:extLst>
              <a:ext uri="{FF2B5EF4-FFF2-40B4-BE49-F238E27FC236}">
                <a16:creationId xmlns:a16="http://schemas.microsoft.com/office/drawing/2014/main" id="{F8C5FCD9-C797-EDF1-03DE-D521BBE02694}"/>
              </a:ext>
            </a:extLst>
          </p:cNvPr>
          <p:cNvSpPr/>
          <p:nvPr/>
        </p:nvSpPr>
        <p:spPr>
          <a:xfrm>
            <a:off x="10301842" y="2276101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847A94D-CC41-BCCC-D4D7-14FEC3CDB2CF}"/>
              </a:ext>
            </a:extLst>
          </p:cNvPr>
          <p:cNvSpPr txBox="1"/>
          <p:nvPr/>
        </p:nvSpPr>
        <p:spPr>
          <a:xfrm>
            <a:off x="10420598" y="2147454"/>
            <a:ext cx="183077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RFKO signal off</a:t>
            </a:r>
            <a:endParaRPr lang="en-US"/>
          </a:p>
        </p:txBody>
      </p: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D09E0C53-2B61-A502-46BF-01B27B9D5037}"/>
              </a:ext>
            </a:extLst>
          </p:cNvPr>
          <p:cNvSpPr/>
          <p:nvPr/>
        </p:nvSpPr>
        <p:spPr>
          <a:xfrm>
            <a:off x="2756930" y="2731694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tar: 5 Points 10">
            <a:extLst>
              <a:ext uri="{FF2B5EF4-FFF2-40B4-BE49-F238E27FC236}">
                <a16:creationId xmlns:a16="http://schemas.microsoft.com/office/drawing/2014/main" id="{A0986C45-FD87-EF60-7925-90B342E0BB85}"/>
              </a:ext>
            </a:extLst>
          </p:cNvPr>
          <p:cNvSpPr/>
          <p:nvPr/>
        </p:nvSpPr>
        <p:spPr>
          <a:xfrm>
            <a:off x="4544784" y="3166751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tar: 5 Points 14">
            <a:extLst>
              <a:ext uri="{FF2B5EF4-FFF2-40B4-BE49-F238E27FC236}">
                <a16:creationId xmlns:a16="http://schemas.microsoft.com/office/drawing/2014/main" id="{45D9F978-38D4-DB05-000E-B1D973DD5FC4}"/>
              </a:ext>
            </a:extLst>
          </p:cNvPr>
          <p:cNvSpPr/>
          <p:nvPr/>
        </p:nvSpPr>
        <p:spPr>
          <a:xfrm>
            <a:off x="6756315" y="4532413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tar: 5 Points 18">
            <a:extLst>
              <a:ext uri="{FF2B5EF4-FFF2-40B4-BE49-F238E27FC236}">
                <a16:creationId xmlns:a16="http://schemas.microsoft.com/office/drawing/2014/main" id="{1C3EE17D-C487-B72B-EC4F-50E4F5D138EF}"/>
              </a:ext>
            </a:extLst>
          </p:cNvPr>
          <p:cNvSpPr/>
          <p:nvPr/>
        </p:nvSpPr>
        <p:spPr>
          <a:xfrm>
            <a:off x="2986395" y="3166751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Star: 5 Points 22">
            <a:extLst>
              <a:ext uri="{FF2B5EF4-FFF2-40B4-BE49-F238E27FC236}">
                <a16:creationId xmlns:a16="http://schemas.microsoft.com/office/drawing/2014/main" id="{CA413123-4084-70C3-C18B-D217EC5A5A12}"/>
              </a:ext>
            </a:extLst>
          </p:cNvPr>
          <p:cNvSpPr/>
          <p:nvPr/>
        </p:nvSpPr>
        <p:spPr>
          <a:xfrm>
            <a:off x="6882367" y="4651166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tar: 5 Points 26">
            <a:extLst>
              <a:ext uri="{FF2B5EF4-FFF2-40B4-BE49-F238E27FC236}">
                <a16:creationId xmlns:a16="http://schemas.microsoft.com/office/drawing/2014/main" id="{37B08954-56F3-E829-3FC3-68948BA42F74}"/>
              </a:ext>
            </a:extLst>
          </p:cNvPr>
          <p:cNvSpPr/>
          <p:nvPr/>
        </p:nvSpPr>
        <p:spPr>
          <a:xfrm>
            <a:off x="4818534" y="4532412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863A628-954F-F8F7-8362-45C02978FAFA}"/>
              </a:ext>
            </a:extLst>
          </p:cNvPr>
          <p:cNvSpPr txBox="1"/>
          <p:nvPr/>
        </p:nvSpPr>
        <p:spPr>
          <a:xfrm>
            <a:off x="-1" y="6003234"/>
            <a:ext cx="6268277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cs typeface="Arial"/>
              </a:rPr>
              <a:t>* </a:t>
            </a:r>
            <a:r>
              <a:rPr lang="en-US" sz="1200">
                <a:ea typeface="+mn-lt"/>
                <a:cs typeface="+mn-lt"/>
              </a:rPr>
              <a:t>Adjusted values to visualize behavior over time. </a:t>
            </a:r>
            <a:endParaRPr lang="en-US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3137025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9D5864-1EBB-799D-7F68-9AC21716EE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5CBC30F-C932-0544-499D-9ACA33A4C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 dirty="0" err="1"/>
              <a:t>MedAustron</a:t>
            </a:r>
            <a:r>
              <a:rPr lang="de-DE" dirty="0"/>
              <a:t> </a:t>
            </a:r>
            <a:endParaRPr lang="de-DE" dirty="0">
              <a:cs typeface="Arial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B868DDE-D8A8-E180-7203-7A6D8BAAC7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 vert="horz" lIns="0" tIns="0" rIns="0" bIns="0" rtlCol="0" anchor="t">
            <a:noAutofit/>
          </a:bodyPr>
          <a:lstStyle/>
          <a:p>
            <a:pPr marL="269875" indent="-269875"/>
            <a:r>
              <a:rPr lang="en-US" dirty="0">
                <a:cs typeface="Arial"/>
              </a:rPr>
              <a:t>Located in Wiener Neustadt,</a:t>
            </a:r>
            <a:br>
              <a:rPr lang="en-US" dirty="0">
                <a:cs typeface="Arial"/>
              </a:rPr>
            </a:br>
            <a:r>
              <a:rPr lang="en-US" dirty="0">
                <a:cs typeface="Arial"/>
              </a:rPr>
              <a:t>Austria</a:t>
            </a:r>
          </a:p>
          <a:p>
            <a:pPr marL="269875" indent="-269875"/>
            <a:r>
              <a:rPr lang="en-US" dirty="0">
                <a:cs typeface="Arial"/>
              </a:rPr>
              <a:t>Based on </a:t>
            </a:r>
            <a:r>
              <a:rPr lang="en-US" b="1" dirty="0">
                <a:cs typeface="Arial"/>
              </a:rPr>
              <a:t>PIMMS</a:t>
            </a:r>
            <a:r>
              <a:rPr lang="en-US" dirty="0">
                <a:cs typeface="Arial"/>
              </a:rPr>
              <a:t> [1] study </a:t>
            </a:r>
          </a:p>
          <a:p>
            <a:pPr marL="269875" indent="-269875"/>
            <a:r>
              <a:rPr lang="en-US" dirty="0">
                <a:cs typeface="Arial"/>
              </a:rPr>
              <a:t>Synchrotron/ main ring</a:t>
            </a:r>
          </a:p>
          <a:p>
            <a:pPr marL="269875" indent="-269875"/>
            <a:r>
              <a:rPr lang="en-US" b="1" dirty="0">
                <a:cs typeface="Arial"/>
              </a:rPr>
              <a:t>Clinical treatment</a:t>
            </a:r>
          </a:p>
          <a:p>
            <a:pPr lvl="1" indent="-271145"/>
            <a:r>
              <a:rPr lang="en-US" dirty="0">
                <a:cs typeface="Arial"/>
              </a:rPr>
              <a:t>Proton: 62 –252 MeV</a:t>
            </a:r>
          </a:p>
          <a:p>
            <a:pPr lvl="1" indent="-271145"/>
            <a:r>
              <a:rPr lang="en-US" dirty="0">
                <a:cs typeface="Arial"/>
              </a:rPr>
              <a:t>Carbon: 120 – 402 MeV/u </a:t>
            </a:r>
          </a:p>
          <a:p>
            <a:pPr lvl="1" indent="-271145"/>
            <a:endParaRPr lang="en-US" dirty="0">
              <a:cs typeface="Arial"/>
            </a:endParaRPr>
          </a:p>
          <a:p>
            <a:pPr lvl="1" indent="-271145"/>
            <a:endParaRPr lang="en-US" dirty="0">
              <a:cs typeface="Arial"/>
            </a:endParaRPr>
          </a:p>
          <a:p>
            <a:pPr marL="269875" indent="-269875"/>
            <a:endParaRPr lang="en-US" dirty="0">
              <a:cs typeface="Arial"/>
            </a:endParaRPr>
          </a:p>
          <a:p>
            <a:pPr marL="269875" indent="-269875"/>
            <a:endParaRPr lang="en-US" dirty="0">
              <a:cs typeface="Arial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79F8D2-E067-B34B-C80B-968BE0CDF5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F90A1E5C-C900-3A2B-253B-53B0CDF5C63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AE3F9D3-BF39-EB4F-FDD8-FAEE071F9F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5396" y="1118259"/>
            <a:ext cx="6856661" cy="484909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3CF7125-E745-F6E1-7DEA-781CC4DB5C3A}"/>
              </a:ext>
            </a:extLst>
          </p:cNvPr>
          <p:cNvSpPr txBox="1"/>
          <p:nvPr/>
        </p:nvSpPr>
        <p:spPr>
          <a:xfrm>
            <a:off x="10222588" y="4999684"/>
            <a:ext cx="1656521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© </a:t>
            </a:r>
            <a:r>
              <a:rPr lang="en-US" err="1">
                <a:cs typeface="Arial"/>
              </a:rPr>
              <a:t>MedAustron</a:t>
            </a:r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60554944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/>
              <a:t>System Implementation Tests: </a:t>
            </a:r>
            <a:r>
              <a:rPr lang="el-GR"/>
              <a:t>Δ</a:t>
            </a:r>
            <a:r>
              <a:rPr lang="de-DE"/>
              <a:t>E = 1 </a:t>
            </a:r>
            <a:r>
              <a:rPr lang="de-DE" err="1"/>
              <a:t>MeV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/>
          <a:lstStyle/>
          <a:p>
            <a:r>
              <a:rPr lang="de-DE"/>
              <a:t>Transfer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configured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third</a:t>
            </a:r>
            <a:r>
              <a:rPr lang="de-DE"/>
              <a:t> </a:t>
            </a:r>
            <a:r>
              <a:rPr lang="de-DE" err="1"/>
              <a:t>energy</a:t>
            </a:r>
            <a:r>
              <a:rPr lang="de-DE"/>
              <a:t> 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3861" y="1842244"/>
            <a:ext cx="8165800" cy="435509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41D254D-36FF-709E-4335-653685F2E4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  <p:sp>
        <p:nvSpPr>
          <p:cNvPr id="4" name="Star: 5 Points 3">
            <a:extLst>
              <a:ext uri="{FF2B5EF4-FFF2-40B4-BE49-F238E27FC236}">
                <a16:creationId xmlns:a16="http://schemas.microsoft.com/office/drawing/2014/main" id="{DC7F1E24-77FC-CC36-84AC-51292FB3F5CC}"/>
              </a:ext>
            </a:extLst>
          </p:cNvPr>
          <p:cNvSpPr/>
          <p:nvPr/>
        </p:nvSpPr>
        <p:spPr>
          <a:xfrm>
            <a:off x="2756930" y="2731694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tar: 5 Points 8">
            <a:extLst>
              <a:ext uri="{FF2B5EF4-FFF2-40B4-BE49-F238E27FC236}">
                <a16:creationId xmlns:a16="http://schemas.microsoft.com/office/drawing/2014/main" id="{32B7F5FD-ABAD-B864-4395-A57CDAF0BC10}"/>
              </a:ext>
            </a:extLst>
          </p:cNvPr>
          <p:cNvSpPr/>
          <p:nvPr/>
        </p:nvSpPr>
        <p:spPr>
          <a:xfrm>
            <a:off x="4544784" y="3166751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tar: 5 Points 11">
            <a:extLst>
              <a:ext uri="{FF2B5EF4-FFF2-40B4-BE49-F238E27FC236}">
                <a16:creationId xmlns:a16="http://schemas.microsoft.com/office/drawing/2014/main" id="{4B313EF8-9036-F261-6F37-4C614236D37D}"/>
              </a:ext>
            </a:extLst>
          </p:cNvPr>
          <p:cNvSpPr/>
          <p:nvPr/>
        </p:nvSpPr>
        <p:spPr>
          <a:xfrm>
            <a:off x="6756315" y="4532413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tar: 5 Points 13">
            <a:extLst>
              <a:ext uri="{FF2B5EF4-FFF2-40B4-BE49-F238E27FC236}">
                <a16:creationId xmlns:a16="http://schemas.microsoft.com/office/drawing/2014/main" id="{59EE51A8-8021-1149-2CEB-978D53259970}"/>
              </a:ext>
            </a:extLst>
          </p:cNvPr>
          <p:cNvSpPr/>
          <p:nvPr/>
        </p:nvSpPr>
        <p:spPr>
          <a:xfrm>
            <a:off x="10301842" y="1909945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B4AC89E-7EA4-096B-CA57-22A2FE59F96A}"/>
              </a:ext>
            </a:extLst>
          </p:cNvPr>
          <p:cNvSpPr txBox="1"/>
          <p:nvPr/>
        </p:nvSpPr>
        <p:spPr>
          <a:xfrm>
            <a:off x="10420596" y="1781300"/>
            <a:ext cx="183077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RFKO signal on</a:t>
            </a:r>
            <a:endParaRPr lang="en-US"/>
          </a:p>
        </p:txBody>
      </p:sp>
      <p:sp>
        <p:nvSpPr>
          <p:cNvPr id="18" name="Star: 5 Points 17">
            <a:extLst>
              <a:ext uri="{FF2B5EF4-FFF2-40B4-BE49-F238E27FC236}">
                <a16:creationId xmlns:a16="http://schemas.microsoft.com/office/drawing/2014/main" id="{499D6BCA-2EE0-8589-935E-61E7BC1A6658}"/>
              </a:ext>
            </a:extLst>
          </p:cNvPr>
          <p:cNvSpPr/>
          <p:nvPr/>
        </p:nvSpPr>
        <p:spPr>
          <a:xfrm>
            <a:off x="2986395" y="3166751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Star: 5 Points 19">
            <a:extLst>
              <a:ext uri="{FF2B5EF4-FFF2-40B4-BE49-F238E27FC236}">
                <a16:creationId xmlns:a16="http://schemas.microsoft.com/office/drawing/2014/main" id="{F7FFBCD4-9ED3-FE92-3AF9-9A5BF13874DE}"/>
              </a:ext>
            </a:extLst>
          </p:cNvPr>
          <p:cNvSpPr/>
          <p:nvPr/>
        </p:nvSpPr>
        <p:spPr>
          <a:xfrm>
            <a:off x="6882367" y="4651166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Star: 5 Points 20">
            <a:extLst>
              <a:ext uri="{FF2B5EF4-FFF2-40B4-BE49-F238E27FC236}">
                <a16:creationId xmlns:a16="http://schemas.microsoft.com/office/drawing/2014/main" id="{E1932C80-D88A-B687-8E30-082852A6BF70}"/>
              </a:ext>
            </a:extLst>
          </p:cNvPr>
          <p:cNvSpPr/>
          <p:nvPr/>
        </p:nvSpPr>
        <p:spPr>
          <a:xfrm>
            <a:off x="4818534" y="4532412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Star: 5 Points 22">
            <a:extLst>
              <a:ext uri="{FF2B5EF4-FFF2-40B4-BE49-F238E27FC236}">
                <a16:creationId xmlns:a16="http://schemas.microsoft.com/office/drawing/2014/main" id="{BE394284-69DC-B0A6-930D-8D1C83E8B75E}"/>
              </a:ext>
            </a:extLst>
          </p:cNvPr>
          <p:cNvSpPr/>
          <p:nvPr/>
        </p:nvSpPr>
        <p:spPr>
          <a:xfrm>
            <a:off x="10301842" y="2276101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399C830-1528-61BE-2A49-36ACAFEFA290}"/>
              </a:ext>
            </a:extLst>
          </p:cNvPr>
          <p:cNvSpPr txBox="1"/>
          <p:nvPr/>
        </p:nvSpPr>
        <p:spPr>
          <a:xfrm>
            <a:off x="10420598" y="2147454"/>
            <a:ext cx="183077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RFKO signal off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CC0D74-19A7-0687-FF1C-DB788D5561C6}"/>
              </a:ext>
            </a:extLst>
          </p:cNvPr>
          <p:cNvSpPr txBox="1"/>
          <p:nvPr/>
        </p:nvSpPr>
        <p:spPr>
          <a:xfrm>
            <a:off x="-1" y="6003234"/>
            <a:ext cx="6268277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cs typeface="Arial"/>
              </a:rPr>
              <a:t>* </a:t>
            </a:r>
            <a:r>
              <a:rPr lang="en-US" sz="1200">
                <a:ea typeface="+mn-lt"/>
                <a:cs typeface="+mn-lt"/>
              </a:rPr>
              <a:t>Adjusted values to visualize behavior over time. </a:t>
            </a:r>
            <a:endParaRPr lang="en-US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7203623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/>
              <a:t>System Implementation Tests: </a:t>
            </a:r>
            <a:r>
              <a:rPr lang="el-GR"/>
              <a:t>Δ</a:t>
            </a:r>
            <a:r>
              <a:rPr lang="de-DE"/>
              <a:t>E = −20 </a:t>
            </a:r>
            <a:r>
              <a:rPr lang="de-DE" err="1"/>
              <a:t>MeV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/>
          <a:lstStyle/>
          <a:p>
            <a:r>
              <a:rPr lang="de-DE"/>
              <a:t>Slow </a:t>
            </a:r>
            <a:r>
              <a:rPr lang="de-DE" err="1"/>
              <a:t>ramp</a:t>
            </a:r>
            <a:r>
              <a:rPr lang="de-DE"/>
              <a:t> (200 A/s)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main</a:t>
            </a:r>
            <a:r>
              <a:rPr lang="de-DE"/>
              <a:t> ring </a:t>
            </a:r>
            <a:r>
              <a:rPr lang="de-DE" err="1"/>
              <a:t>dipoles</a:t>
            </a:r>
            <a:r>
              <a:rPr lang="de-DE"/>
              <a:t>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low</a:t>
            </a:r>
            <a:r>
              <a:rPr lang="de-DE"/>
              <a:t> RF </a:t>
            </a:r>
            <a:r>
              <a:rPr lang="de-DE" err="1"/>
              <a:t>voltage</a:t>
            </a:r>
            <a:endParaRPr lang="de-DE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3861" y="1842244"/>
            <a:ext cx="8165799" cy="435509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57329EC-2D17-6DAE-AE2C-F32175952F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  <p:sp>
        <p:nvSpPr>
          <p:cNvPr id="12" name="Star: 5 Points 11">
            <a:extLst>
              <a:ext uri="{FF2B5EF4-FFF2-40B4-BE49-F238E27FC236}">
                <a16:creationId xmlns:a16="http://schemas.microsoft.com/office/drawing/2014/main" id="{A7386DAB-3147-4BC7-D03F-A3ACABF87736}"/>
              </a:ext>
            </a:extLst>
          </p:cNvPr>
          <p:cNvSpPr/>
          <p:nvPr/>
        </p:nvSpPr>
        <p:spPr>
          <a:xfrm>
            <a:off x="10301842" y="1909945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DBC77D7-483A-EF19-4C2B-45A82C7CBC52}"/>
              </a:ext>
            </a:extLst>
          </p:cNvPr>
          <p:cNvSpPr txBox="1"/>
          <p:nvPr/>
        </p:nvSpPr>
        <p:spPr>
          <a:xfrm>
            <a:off x="10420596" y="1781300"/>
            <a:ext cx="183077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RFKO signal on</a:t>
            </a:r>
            <a:endParaRPr lang="en-US"/>
          </a:p>
        </p:txBody>
      </p:sp>
      <p:sp>
        <p:nvSpPr>
          <p:cNvPr id="20" name="Star: 5 Points 19">
            <a:extLst>
              <a:ext uri="{FF2B5EF4-FFF2-40B4-BE49-F238E27FC236}">
                <a16:creationId xmlns:a16="http://schemas.microsoft.com/office/drawing/2014/main" id="{D4F618DD-D54A-F18B-0BFA-686BFFB9DC72}"/>
              </a:ext>
            </a:extLst>
          </p:cNvPr>
          <p:cNvSpPr/>
          <p:nvPr/>
        </p:nvSpPr>
        <p:spPr>
          <a:xfrm>
            <a:off x="10301842" y="2276101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3D57FEF-B28C-A237-7ED8-FA3404D6E010}"/>
              </a:ext>
            </a:extLst>
          </p:cNvPr>
          <p:cNvSpPr txBox="1"/>
          <p:nvPr/>
        </p:nvSpPr>
        <p:spPr>
          <a:xfrm>
            <a:off x="10420598" y="2147454"/>
            <a:ext cx="183077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RFKO signal off</a:t>
            </a:r>
            <a:endParaRPr lang="en-US"/>
          </a:p>
        </p:txBody>
      </p: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B1B42BB9-4B57-7743-FFBB-A7B23CF9BDBC}"/>
              </a:ext>
            </a:extLst>
          </p:cNvPr>
          <p:cNvSpPr/>
          <p:nvPr/>
        </p:nvSpPr>
        <p:spPr>
          <a:xfrm>
            <a:off x="2766455" y="2779319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tar: 5 Points 12">
            <a:extLst>
              <a:ext uri="{FF2B5EF4-FFF2-40B4-BE49-F238E27FC236}">
                <a16:creationId xmlns:a16="http://schemas.microsoft.com/office/drawing/2014/main" id="{7C51E0A9-8612-7BFD-1A53-4E434763787E}"/>
              </a:ext>
            </a:extLst>
          </p:cNvPr>
          <p:cNvSpPr/>
          <p:nvPr/>
        </p:nvSpPr>
        <p:spPr>
          <a:xfrm>
            <a:off x="4247901" y="3510146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Star: 5 Points 16">
            <a:extLst>
              <a:ext uri="{FF2B5EF4-FFF2-40B4-BE49-F238E27FC236}">
                <a16:creationId xmlns:a16="http://schemas.microsoft.com/office/drawing/2014/main" id="{B1C764C5-35A0-D66C-C99E-4D784441A323}"/>
              </a:ext>
            </a:extLst>
          </p:cNvPr>
          <p:cNvSpPr/>
          <p:nvPr/>
        </p:nvSpPr>
        <p:spPr>
          <a:xfrm>
            <a:off x="5632242" y="3967964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Star: 5 Points 20">
            <a:extLst>
              <a:ext uri="{FF2B5EF4-FFF2-40B4-BE49-F238E27FC236}">
                <a16:creationId xmlns:a16="http://schemas.microsoft.com/office/drawing/2014/main" id="{6EDD45FD-DCE0-CB44-AB1A-469E533BEEA0}"/>
              </a:ext>
            </a:extLst>
          </p:cNvPr>
          <p:cNvSpPr/>
          <p:nvPr/>
        </p:nvSpPr>
        <p:spPr>
          <a:xfrm>
            <a:off x="7181105" y="4414773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67AAF6E-FE95-15B0-5462-CDC216562307}"/>
              </a:ext>
            </a:extLst>
          </p:cNvPr>
          <p:cNvSpPr txBox="1"/>
          <p:nvPr/>
        </p:nvSpPr>
        <p:spPr>
          <a:xfrm>
            <a:off x="-1" y="6003234"/>
            <a:ext cx="6268277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cs typeface="Arial"/>
              </a:rPr>
              <a:t>* </a:t>
            </a:r>
            <a:r>
              <a:rPr lang="en-US" sz="1200">
                <a:ea typeface="+mn-lt"/>
                <a:cs typeface="+mn-lt"/>
              </a:rPr>
              <a:t>Adjusted values to visualize behavior over time. </a:t>
            </a:r>
            <a:endParaRPr lang="en-US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6439101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/>
              <a:t>System Implementation Tests: </a:t>
            </a:r>
            <a:r>
              <a:rPr lang="el-GR"/>
              <a:t>Δ</a:t>
            </a:r>
            <a:r>
              <a:rPr lang="de-DE"/>
              <a:t>E = −20 </a:t>
            </a:r>
            <a:r>
              <a:rPr lang="de-DE" err="1"/>
              <a:t>MeV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/>
          <a:lstStyle/>
          <a:p>
            <a:r>
              <a:rPr lang="de-DE" err="1"/>
              <a:t>Losses</a:t>
            </a:r>
            <a:r>
              <a:rPr lang="de-DE"/>
              <a:t> </a:t>
            </a:r>
            <a:r>
              <a:rPr lang="de-DE" err="1"/>
              <a:t>as</a:t>
            </a:r>
            <a:r>
              <a:rPr lang="de-DE"/>
              <a:t> </a:t>
            </a:r>
            <a:r>
              <a:rPr lang="de-DE" err="1"/>
              <a:t>sextupole</a:t>
            </a:r>
            <a:r>
              <a:rPr lang="de-DE"/>
              <a:t> </a:t>
            </a:r>
            <a:r>
              <a:rPr lang="de-DE" err="1"/>
              <a:t>ramps</a:t>
            </a:r>
            <a:r>
              <a:rPr lang="de-DE"/>
              <a:t> </a:t>
            </a:r>
            <a:r>
              <a:rPr lang="de-DE" err="1"/>
              <a:t>up</a:t>
            </a:r>
            <a:r>
              <a:rPr lang="de-DE"/>
              <a:t> 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3862" y="1842244"/>
            <a:ext cx="8165798" cy="435509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9D5E4CB-CC51-B2C3-627D-B1D7098A53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  <p:sp>
        <p:nvSpPr>
          <p:cNvPr id="4" name="Star: 5 Points 3">
            <a:extLst>
              <a:ext uri="{FF2B5EF4-FFF2-40B4-BE49-F238E27FC236}">
                <a16:creationId xmlns:a16="http://schemas.microsoft.com/office/drawing/2014/main" id="{7C121F19-EB76-031B-2773-C207B89F8E65}"/>
              </a:ext>
            </a:extLst>
          </p:cNvPr>
          <p:cNvSpPr/>
          <p:nvPr/>
        </p:nvSpPr>
        <p:spPr>
          <a:xfrm>
            <a:off x="2766455" y="2779319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tar: 5 Points 11">
            <a:extLst>
              <a:ext uri="{FF2B5EF4-FFF2-40B4-BE49-F238E27FC236}">
                <a16:creationId xmlns:a16="http://schemas.microsoft.com/office/drawing/2014/main" id="{DE81FB20-A8B1-0B1C-B005-750E3A3EAEC9}"/>
              </a:ext>
            </a:extLst>
          </p:cNvPr>
          <p:cNvSpPr/>
          <p:nvPr/>
        </p:nvSpPr>
        <p:spPr>
          <a:xfrm>
            <a:off x="10301842" y="1909945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5F91056-B647-E973-151B-3AF3B908995D}"/>
              </a:ext>
            </a:extLst>
          </p:cNvPr>
          <p:cNvSpPr txBox="1"/>
          <p:nvPr/>
        </p:nvSpPr>
        <p:spPr>
          <a:xfrm>
            <a:off x="10420596" y="1781300"/>
            <a:ext cx="183077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RFKO signal on</a:t>
            </a:r>
            <a:endParaRPr lang="en-US"/>
          </a:p>
        </p:txBody>
      </p:sp>
      <p:sp>
        <p:nvSpPr>
          <p:cNvPr id="20" name="Star: 5 Points 19">
            <a:extLst>
              <a:ext uri="{FF2B5EF4-FFF2-40B4-BE49-F238E27FC236}">
                <a16:creationId xmlns:a16="http://schemas.microsoft.com/office/drawing/2014/main" id="{6B5982F7-1E01-4F0C-6097-C784ACE21FDC}"/>
              </a:ext>
            </a:extLst>
          </p:cNvPr>
          <p:cNvSpPr/>
          <p:nvPr/>
        </p:nvSpPr>
        <p:spPr>
          <a:xfrm>
            <a:off x="10301842" y="2276101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85E5F75-1ACF-E675-29B7-56F16D4E7C88}"/>
              </a:ext>
            </a:extLst>
          </p:cNvPr>
          <p:cNvSpPr txBox="1"/>
          <p:nvPr/>
        </p:nvSpPr>
        <p:spPr>
          <a:xfrm>
            <a:off x="10420598" y="2147454"/>
            <a:ext cx="183077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RFKO signal off</a:t>
            </a:r>
            <a:endParaRPr lang="en-US"/>
          </a:p>
        </p:txBody>
      </p: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ECCBE9F3-28BF-24FE-E656-8CBE7A0DBC49}"/>
              </a:ext>
            </a:extLst>
          </p:cNvPr>
          <p:cNvSpPr/>
          <p:nvPr/>
        </p:nvSpPr>
        <p:spPr>
          <a:xfrm>
            <a:off x="4247901" y="3510146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tar: 5 Points 12">
            <a:extLst>
              <a:ext uri="{FF2B5EF4-FFF2-40B4-BE49-F238E27FC236}">
                <a16:creationId xmlns:a16="http://schemas.microsoft.com/office/drawing/2014/main" id="{ABF5B53E-080D-AB76-F0C4-95CB061207B8}"/>
              </a:ext>
            </a:extLst>
          </p:cNvPr>
          <p:cNvSpPr/>
          <p:nvPr/>
        </p:nvSpPr>
        <p:spPr>
          <a:xfrm>
            <a:off x="5632242" y="3967964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tar: 5 Points 18">
            <a:extLst>
              <a:ext uri="{FF2B5EF4-FFF2-40B4-BE49-F238E27FC236}">
                <a16:creationId xmlns:a16="http://schemas.microsoft.com/office/drawing/2014/main" id="{A04562DB-4C51-F77A-6AD6-FA31DCD88E95}"/>
              </a:ext>
            </a:extLst>
          </p:cNvPr>
          <p:cNvSpPr/>
          <p:nvPr/>
        </p:nvSpPr>
        <p:spPr>
          <a:xfrm>
            <a:off x="7181105" y="4414773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4C7A9E1-545E-4AB4-7FB9-8CB83C7E9BE4}"/>
              </a:ext>
            </a:extLst>
          </p:cNvPr>
          <p:cNvSpPr txBox="1"/>
          <p:nvPr/>
        </p:nvSpPr>
        <p:spPr>
          <a:xfrm>
            <a:off x="-1" y="6003234"/>
            <a:ext cx="6268277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cs typeface="Arial"/>
              </a:rPr>
              <a:t>* </a:t>
            </a:r>
            <a:r>
              <a:rPr lang="en-US" sz="1200">
                <a:ea typeface="+mn-lt"/>
                <a:cs typeface="+mn-lt"/>
              </a:rPr>
              <a:t>Adjusted values to visualize behavior over time. </a:t>
            </a:r>
            <a:endParaRPr lang="en-US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6229925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/>
              <a:t>System Implementation Tests: </a:t>
            </a:r>
            <a:r>
              <a:rPr lang="el-GR"/>
              <a:t>Δ</a:t>
            </a:r>
            <a:r>
              <a:rPr lang="de-DE"/>
              <a:t>E = −20 </a:t>
            </a:r>
            <a:r>
              <a:rPr lang="de-DE" err="1"/>
              <a:t>MeV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/>
          <a:lstStyle/>
          <a:p>
            <a:r>
              <a:rPr lang="de-DE"/>
              <a:t>Transfer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configured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energy</a:t>
            </a:r>
            <a:r>
              <a:rPr lang="de-DE"/>
              <a:t> 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3862" y="1842244"/>
            <a:ext cx="8165797" cy="435509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89300A2-F3C0-B613-9BEF-6B1E130828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  <p:sp>
        <p:nvSpPr>
          <p:cNvPr id="9" name="Star: 5 Points 8">
            <a:extLst>
              <a:ext uri="{FF2B5EF4-FFF2-40B4-BE49-F238E27FC236}">
                <a16:creationId xmlns:a16="http://schemas.microsoft.com/office/drawing/2014/main" id="{96779E81-95FB-C722-B46B-880F824A356D}"/>
              </a:ext>
            </a:extLst>
          </p:cNvPr>
          <p:cNvSpPr/>
          <p:nvPr/>
        </p:nvSpPr>
        <p:spPr>
          <a:xfrm>
            <a:off x="5632242" y="3967964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tar: 5 Points 11">
            <a:extLst>
              <a:ext uri="{FF2B5EF4-FFF2-40B4-BE49-F238E27FC236}">
                <a16:creationId xmlns:a16="http://schemas.microsoft.com/office/drawing/2014/main" id="{1A3811F9-E833-AB97-8A7E-902260B1B90E}"/>
              </a:ext>
            </a:extLst>
          </p:cNvPr>
          <p:cNvSpPr/>
          <p:nvPr/>
        </p:nvSpPr>
        <p:spPr>
          <a:xfrm>
            <a:off x="10301842" y="1909945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3E8227-AE65-056B-2744-39644B8DB890}"/>
              </a:ext>
            </a:extLst>
          </p:cNvPr>
          <p:cNvSpPr txBox="1"/>
          <p:nvPr/>
        </p:nvSpPr>
        <p:spPr>
          <a:xfrm>
            <a:off x="10420596" y="1781300"/>
            <a:ext cx="183077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RFKO signal on</a:t>
            </a:r>
            <a:endParaRPr lang="en-US"/>
          </a:p>
        </p:txBody>
      </p:sp>
      <p:sp>
        <p:nvSpPr>
          <p:cNvPr id="20" name="Star: 5 Points 19">
            <a:extLst>
              <a:ext uri="{FF2B5EF4-FFF2-40B4-BE49-F238E27FC236}">
                <a16:creationId xmlns:a16="http://schemas.microsoft.com/office/drawing/2014/main" id="{5D391891-2B73-862B-6C87-E86CBB532CCA}"/>
              </a:ext>
            </a:extLst>
          </p:cNvPr>
          <p:cNvSpPr/>
          <p:nvPr/>
        </p:nvSpPr>
        <p:spPr>
          <a:xfrm>
            <a:off x="10301842" y="2276101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AE400A6-ACF7-62ED-7AC1-57B54B997C9A}"/>
              </a:ext>
            </a:extLst>
          </p:cNvPr>
          <p:cNvSpPr txBox="1"/>
          <p:nvPr/>
        </p:nvSpPr>
        <p:spPr>
          <a:xfrm>
            <a:off x="10420598" y="2147454"/>
            <a:ext cx="183077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RFKO signal off</a:t>
            </a:r>
            <a:endParaRPr lang="en-US"/>
          </a:p>
        </p:txBody>
      </p:sp>
      <p:sp>
        <p:nvSpPr>
          <p:cNvPr id="24" name="Star: 5 Points 23">
            <a:extLst>
              <a:ext uri="{FF2B5EF4-FFF2-40B4-BE49-F238E27FC236}">
                <a16:creationId xmlns:a16="http://schemas.microsoft.com/office/drawing/2014/main" id="{27DB8018-280B-1313-6B71-4AA4550BF59D}"/>
              </a:ext>
            </a:extLst>
          </p:cNvPr>
          <p:cNvSpPr/>
          <p:nvPr/>
        </p:nvSpPr>
        <p:spPr>
          <a:xfrm>
            <a:off x="7181105" y="4414773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057539AA-2F6D-3F05-4B99-2E7E3C0570CA}"/>
              </a:ext>
            </a:extLst>
          </p:cNvPr>
          <p:cNvSpPr/>
          <p:nvPr/>
        </p:nvSpPr>
        <p:spPr>
          <a:xfrm>
            <a:off x="2766455" y="2779319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tar: 5 Points 12">
            <a:extLst>
              <a:ext uri="{FF2B5EF4-FFF2-40B4-BE49-F238E27FC236}">
                <a16:creationId xmlns:a16="http://schemas.microsoft.com/office/drawing/2014/main" id="{086A58B8-9D56-FB0E-8E61-50AEC5E12E9A}"/>
              </a:ext>
            </a:extLst>
          </p:cNvPr>
          <p:cNvSpPr/>
          <p:nvPr/>
        </p:nvSpPr>
        <p:spPr>
          <a:xfrm>
            <a:off x="4247901" y="3510146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22C73AB-85E7-BB87-93E4-8BBD284F6907}"/>
              </a:ext>
            </a:extLst>
          </p:cNvPr>
          <p:cNvSpPr txBox="1"/>
          <p:nvPr/>
        </p:nvSpPr>
        <p:spPr>
          <a:xfrm>
            <a:off x="-1" y="6003234"/>
            <a:ext cx="6268277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cs typeface="Arial"/>
              </a:rPr>
              <a:t>* </a:t>
            </a:r>
            <a:r>
              <a:rPr lang="en-US" sz="1200">
                <a:ea typeface="+mn-lt"/>
                <a:cs typeface="+mn-lt"/>
              </a:rPr>
              <a:t>Adjusted values to visualize behavior over time. </a:t>
            </a:r>
            <a:endParaRPr lang="en-US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1242256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/>
              <a:t>System Implementation Tests: </a:t>
            </a:r>
            <a:r>
              <a:rPr lang="el-GR"/>
              <a:t>Δ</a:t>
            </a:r>
            <a:r>
              <a:rPr lang="de-DE"/>
              <a:t>E = −20 </a:t>
            </a:r>
            <a:r>
              <a:rPr lang="de-DE" err="1"/>
              <a:t>MeV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/>
          <a:lstStyle/>
          <a:p>
            <a:r>
              <a:rPr lang="de-DE"/>
              <a:t>Transfer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configured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econd</a:t>
            </a:r>
            <a:r>
              <a:rPr lang="de-DE"/>
              <a:t> </a:t>
            </a:r>
            <a:r>
              <a:rPr lang="de-DE" err="1"/>
              <a:t>energy</a:t>
            </a:r>
            <a:r>
              <a:rPr lang="de-DE"/>
              <a:t> 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030172"/>
            <a:ext cx="8165796" cy="435509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259D722-A81E-0F0D-3A18-21BBD07750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  <p:sp>
        <p:nvSpPr>
          <p:cNvPr id="4" name="Star: 5 Points 3">
            <a:extLst>
              <a:ext uri="{FF2B5EF4-FFF2-40B4-BE49-F238E27FC236}">
                <a16:creationId xmlns:a16="http://schemas.microsoft.com/office/drawing/2014/main" id="{73DC59C5-3871-855B-C567-3278A0518327}"/>
              </a:ext>
            </a:extLst>
          </p:cNvPr>
          <p:cNvSpPr/>
          <p:nvPr/>
        </p:nvSpPr>
        <p:spPr>
          <a:xfrm>
            <a:off x="781791" y="2958933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tar: 5 Points 11">
            <a:extLst>
              <a:ext uri="{FF2B5EF4-FFF2-40B4-BE49-F238E27FC236}">
                <a16:creationId xmlns:a16="http://schemas.microsoft.com/office/drawing/2014/main" id="{1D35A84A-1E50-4096-2226-4C6646F99EEB}"/>
              </a:ext>
            </a:extLst>
          </p:cNvPr>
          <p:cNvSpPr/>
          <p:nvPr/>
        </p:nvSpPr>
        <p:spPr>
          <a:xfrm>
            <a:off x="10301842" y="1909945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9C810CC-A3CE-B15E-75D8-27591CC2531C}"/>
              </a:ext>
            </a:extLst>
          </p:cNvPr>
          <p:cNvSpPr txBox="1"/>
          <p:nvPr/>
        </p:nvSpPr>
        <p:spPr>
          <a:xfrm>
            <a:off x="10420596" y="1781300"/>
            <a:ext cx="183077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RFKO signal on</a:t>
            </a:r>
            <a:endParaRPr lang="en-US"/>
          </a:p>
        </p:txBody>
      </p:sp>
      <p:sp>
        <p:nvSpPr>
          <p:cNvPr id="18" name="Star: 5 Points 17">
            <a:extLst>
              <a:ext uri="{FF2B5EF4-FFF2-40B4-BE49-F238E27FC236}">
                <a16:creationId xmlns:a16="http://schemas.microsoft.com/office/drawing/2014/main" id="{BDD15481-93A7-39D9-70BA-2444C9A6FB73}"/>
              </a:ext>
            </a:extLst>
          </p:cNvPr>
          <p:cNvSpPr/>
          <p:nvPr/>
        </p:nvSpPr>
        <p:spPr>
          <a:xfrm>
            <a:off x="5307031" y="4632488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Star: 5 Points 19">
            <a:extLst>
              <a:ext uri="{FF2B5EF4-FFF2-40B4-BE49-F238E27FC236}">
                <a16:creationId xmlns:a16="http://schemas.microsoft.com/office/drawing/2014/main" id="{295ED0D5-9CD6-CF73-5D01-F4AD02121697}"/>
              </a:ext>
            </a:extLst>
          </p:cNvPr>
          <p:cNvSpPr/>
          <p:nvPr/>
        </p:nvSpPr>
        <p:spPr>
          <a:xfrm>
            <a:off x="10301842" y="2276101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C435419-8086-6C91-0520-9378E4750FB3}"/>
              </a:ext>
            </a:extLst>
          </p:cNvPr>
          <p:cNvSpPr txBox="1"/>
          <p:nvPr/>
        </p:nvSpPr>
        <p:spPr>
          <a:xfrm>
            <a:off x="10420598" y="2147454"/>
            <a:ext cx="183077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RFKO signal off</a:t>
            </a:r>
            <a:endParaRPr lang="en-US"/>
          </a:p>
        </p:txBody>
      </p: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12F26DD7-5B16-DA08-F707-2546A03786A8}"/>
              </a:ext>
            </a:extLst>
          </p:cNvPr>
          <p:cNvSpPr/>
          <p:nvPr/>
        </p:nvSpPr>
        <p:spPr>
          <a:xfrm>
            <a:off x="2366528" y="3661556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tar: 5 Points 12">
            <a:extLst>
              <a:ext uri="{FF2B5EF4-FFF2-40B4-BE49-F238E27FC236}">
                <a16:creationId xmlns:a16="http://schemas.microsoft.com/office/drawing/2014/main" id="{4362F418-951C-A964-BA16-FA7DE8E417FE}"/>
              </a:ext>
            </a:extLst>
          </p:cNvPr>
          <p:cNvSpPr/>
          <p:nvPr/>
        </p:nvSpPr>
        <p:spPr>
          <a:xfrm>
            <a:off x="3730334" y="4146465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925E857-2AFF-2EEA-3FB2-E3FCEC76223D}"/>
              </a:ext>
            </a:extLst>
          </p:cNvPr>
          <p:cNvSpPr txBox="1"/>
          <p:nvPr/>
        </p:nvSpPr>
        <p:spPr>
          <a:xfrm>
            <a:off x="-1" y="1831284"/>
            <a:ext cx="6268277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cs typeface="Arial"/>
              </a:rPr>
              <a:t>* </a:t>
            </a:r>
            <a:r>
              <a:rPr lang="en-US" sz="1200">
                <a:ea typeface="+mn-lt"/>
                <a:cs typeface="+mn-lt"/>
              </a:rPr>
              <a:t>Adjusted values to visualize behavior over time. </a:t>
            </a:r>
            <a:endParaRPr lang="en-US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956574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/>
              <a:t>System Implementation Tests: </a:t>
            </a:r>
            <a:r>
              <a:rPr lang="el-GR"/>
              <a:t>Δ</a:t>
            </a:r>
            <a:r>
              <a:rPr lang="de-DE"/>
              <a:t>E = −20 </a:t>
            </a:r>
            <a:r>
              <a:rPr lang="de-DE" err="1"/>
              <a:t>MeV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/>
          <a:lstStyle/>
          <a:p>
            <a:r>
              <a:rPr lang="de-DE"/>
              <a:t>Transfer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configured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econd</a:t>
            </a:r>
            <a:r>
              <a:rPr lang="de-DE"/>
              <a:t> </a:t>
            </a:r>
            <a:r>
              <a:rPr lang="de-DE" err="1"/>
              <a:t>energy</a:t>
            </a:r>
            <a:r>
              <a:rPr lang="de-DE"/>
              <a:t> </a:t>
            </a:r>
            <a:r>
              <a:rPr lang="de-DE">
                <a:sym typeface="Wingdings" panose="05000000000000000000" pitchFamily="2" charset="2"/>
              </a:rPr>
              <a:t> Peak in IR </a:t>
            </a:r>
          </a:p>
          <a:p>
            <a:endParaRPr lang="de-DE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030172"/>
            <a:ext cx="8165796" cy="435509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A80148C-2476-1497-CF9E-9005DCE3C1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  <p:sp>
        <p:nvSpPr>
          <p:cNvPr id="4" name="Star: 5 Points 3">
            <a:extLst>
              <a:ext uri="{FF2B5EF4-FFF2-40B4-BE49-F238E27FC236}">
                <a16:creationId xmlns:a16="http://schemas.microsoft.com/office/drawing/2014/main" id="{98A5DCE9-94CC-9254-AAE6-432184E8D27C}"/>
              </a:ext>
            </a:extLst>
          </p:cNvPr>
          <p:cNvSpPr/>
          <p:nvPr/>
        </p:nvSpPr>
        <p:spPr>
          <a:xfrm>
            <a:off x="781791" y="2958933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tar: 5 Points 13">
            <a:extLst>
              <a:ext uri="{FF2B5EF4-FFF2-40B4-BE49-F238E27FC236}">
                <a16:creationId xmlns:a16="http://schemas.microsoft.com/office/drawing/2014/main" id="{BDB7ED4C-7A3D-AE5F-76D3-FD741C85C11B}"/>
              </a:ext>
            </a:extLst>
          </p:cNvPr>
          <p:cNvSpPr/>
          <p:nvPr/>
        </p:nvSpPr>
        <p:spPr>
          <a:xfrm>
            <a:off x="10301842" y="1909945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2F8F3B5-B170-23FB-89F1-232F80A44280}"/>
              </a:ext>
            </a:extLst>
          </p:cNvPr>
          <p:cNvSpPr txBox="1"/>
          <p:nvPr/>
        </p:nvSpPr>
        <p:spPr>
          <a:xfrm>
            <a:off x="10420596" y="1781300"/>
            <a:ext cx="183077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RFKO signal on</a:t>
            </a:r>
            <a:endParaRPr lang="en-US"/>
          </a:p>
        </p:txBody>
      </p:sp>
      <p:sp>
        <p:nvSpPr>
          <p:cNvPr id="22" name="Star: 5 Points 21">
            <a:extLst>
              <a:ext uri="{FF2B5EF4-FFF2-40B4-BE49-F238E27FC236}">
                <a16:creationId xmlns:a16="http://schemas.microsoft.com/office/drawing/2014/main" id="{4370AB2E-96A8-4F8B-B8C8-3EE1AF9470C3}"/>
              </a:ext>
            </a:extLst>
          </p:cNvPr>
          <p:cNvSpPr/>
          <p:nvPr/>
        </p:nvSpPr>
        <p:spPr>
          <a:xfrm>
            <a:off x="10301842" y="2276101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8CD7AE-FCDA-9D2E-A690-1D31101E9996}"/>
              </a:ext>
            </a:extLst>
          </p:cNvPr>
          <p:cNvSpPr txBox="1"/>
          <p:nvPr/>
        </p:nvSpPr>
        <p:spPr>
          <a:xfrm>
            <a:off x="10420598" y="2147454"/>
            <a:ext cx="183077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RFKO signal off</a:t>
            </a:r>
            <a:endParaRPr lang="en-US"/>
          </a:p>
        </p:txBody>
      </p: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102AC091-3BD0-E138-1549-E33AB28AE470}"/>
              </a:ext>
            </a:extLst>
          </p:cNvPr>
          <p:cNvSpPr/>
          <p:nvPr/>
        </p:nvSpPr>
        <p:spPr>
          <a:xfrm>
            <a:off x="2366528" y="3661556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tar: 5 Points 10">
            <a:extLst>
              <a:ext uri="{FF2B5EF4-FFF2-40B4-BE49-F238E27FC236}">
                <a16:creationId xmlns:a16="http://schemas.microsoft.com/office/drawing/2014/main" id="{383E7690-787B-7745-2FBC-38CC6CCFC4CF}"/>
              </a:ext>
            </a:extLst>
          </p:cNvPr>
          <p:cNvSpPr/>
          <p:nvPr/>
        </p:nvSpPr>
        <p:spPr>
          <a:xfrm>
            <a:off x="3730334" y="4146465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tar: 5 Points 14">
            <a:extLst>
              <a:ext uri="{FF2B5EF4-FFF2-40B4-BE49-F238E27FC236}">
                <a16:creationId xmlns:a16="http://schemas.microsoft.com/office/drawing/2014/main" id="{74803EB5-6438-F1AF-B853-BD95DE8C877A}"/>
              </a:ext>
            </a:extLst>
          </p:cNvPr>
          <p:cNvSpPr/>
          <p:nvPr/>
        </p:nvSpPr>
        <p:spPr>
          <a:xfrm>
            <a:off x="5307031" y="4632488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370AF67-C689-A15D-096B-EB7191631F6E}"/>
              </a:ext>
            </a:extLst>
          </p:cNvPr>
          <p:cNvSpPr txBox="1"/>
          <p:nvPr/>
        </p:nvSpPr>
        <p:spPr>
          <a:xfrm>
            <a:off x="-1" y="1831284"/>
            <a:ext cx="6268277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cs typeface="Arial"/>
              </a:rPr>
              <a:t>* </a:t>
            </a:r>
            <a:r>
              <a:rPr lang="en-US" sz="1200">
                <a:ea typeface="+mn-lt"/>
                <a:cs typeface="+mn-lt"/>
              </a:rPr>
              <a:t>Adjusted values to visualize behavior over time. </a:t>
            </a:r>
            <a:endParaRPr lang="en-US">
              <a:cs typeface="Arial" panose="020B0604020202020204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B8372F-9EAB-0DC2-E80C-E099A4B97550}"/>
              </a:ext>
            </a:extLst>
          </p:cNvPr>
          <p:cNvSpPr/>
          <p:nvPr/>
        </p:nvSpPr>
        <p:spPr>
          <a:xfrm rot="5400000">
            <a:off x="1891684" y="3990814"/>
            <a:ext cx="2437667" cy="30464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3406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/>
              <a:t>System Implementation Tests: </a:t>
            </a:r>
            <a:r>
              <a:rPr lang="el-GR"/>
              <a:t>Δ</a:t>
            </a:r>
            <a:r>
              <a:rPr lang="de-DE"/>
              <a:t>E = −20 </a:t>
            </a:r>
            <a:r>
              <a:rPr lang="de-DE" err="1"/>
              <a:t>MeV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/>
          <a:lstStyle/>
          <a:p>
            <a:r>
              <a:rPr lang="de-DE"/>
              <a:t>Transfer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configured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econd</a:t>
            </a:r>
            <a:r>
              <a:rPr lang="de-DE"/>
              <a:t> </a:t>
            </a:r>
            <a:r>
              <a:rPr lang="de-DE" err="1"/>
              <a:t>energy</a:t>
            </a:r>
            <a:r>
              <a:rPr lang="de-DE"/>
              <a:t> </a:t>
            </a:r>
            <a:r>
              <a:rPr lang="de-DE">
                <a:sym typeface="Wingdings" panose="05000000000000000000" pitchFamily="2" charset="2"/>
              </a:rPr>
              <a:t> Peak in IR </a:t>
            </a:r>
          </a:p>
          <a:p>
            <a:r>
              <a:rPr lang="de-DE" err="1"/>
              <a:t>Mismatch</a:t>
            </a:r>
            <a:r>
              <a:rPr lang="de-DE"/>
              <a:t> in </a:t>
            </a:r>
            <a:r>
              <a:rPr lang="de-DE" err="1"/>
              <a:t>energy</a:t>
            </a:r>
            <a:r>
              <a:rPr lang="de-DE"/>
              <a:t> due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current</a:t>
            </a:r>
            <a:r>
              <a:rPr lang="de-DE"/>
              <a:t> </a:t>
            </a:r>
            <a:r>
              <a:rPr lang="de-DE" err="1"/>
              <a:t>regulation</a:t>
            </a:r>
            <a:r>
              <a:rPr lang="de-DE"/>
              <a:t> </a:t>
            </a:r>
            <a:r>
              <a:rPr lang="de-DE">
                <a:sym typeface="Wingdings" panose="05000000000000000000" pitchFamily="2" charset="2"/>
              </a:rPr>
              <a:t> </a:t>
            </a:r>
            <a:r>
              <a:rPr lang="de-DE" err="1">
                <a:sym typeface="Wingdings" panose="05000000000000000000" pitchFamily="2" charset="2"/>
              </a:rPr>
              <a:t>low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en-US">
                <a:sym typeface="Wingdings" panose="05000000000000000000" pitchFamily="2" charset="2"/>
              </a:rPr>
              <a:t>transport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en-US">
                <a:sym typeface="Wingdings" panose="05000000000000000000" pitchFamily="2" charset="2"/>
              </a:rPr>
              <a:t>efficiency</a:t>
            </a:r>
            <a:endParaRPr lang="en-US"/>
          </a:p>
          <a:p>
            <a:endParaRPr lang="de-DE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030172"/>
            <a:ext cx="8165796" cy="4355091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25408" y="3374381"/>
            <a:ext cx="4066591" cy="2168849"/>
          </a:xfrm>
          <a:prstGeom prst="rect">
            <a:avLst/>
          </a:prstGeom>
        </p:spPr>
      </p:pic>
      <p:cxnSp>
        <p:nvCxnSpPr>
          <p:cNvPr id="11" name="Straight Arrow Connector 10"/>
          <p:cNvCxnSpPr/>
          <p:nvPr/>
        </p:nvCxnSpPr>
        <p:spPr>
          <a:xfrm flipV="1">
            <a:off x="5329475" y="4864889"/>
            <a:ext cx="2836321" cy="512238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3148983" y="5210014"/>
            <a:ext cx="2180492" cy="33321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0CF329-9CD6-FBDE-D4B4-4F60CD6CEC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  <p:sp>
        <p:nvSpPr>
          <p:cNvPr id="5" name="Star: 5 Points 4">
            <a:extLst>
              <a:ext uri="{FF2B5EF4-FFF2-40B4-BE49-F238E27FC236}">
                <a16:creationId xmlns:a16="http://schemas.microsoft.com/office/drawing/2014/main" id="{60E3EE50-0B3A-3F8D-4CAA-567D141E984D}"/>
              </a:ext>
            </a:extLst>
          </p:cNvPr>
          <p:cNvSpPr/>
          <p:nvPr/>
        </p:nvSpPr>
        <p:spPr>
          <a:xfrm>
            <a:off x="781791" y="2958933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tar: 5 Points 12">
            <a:extLst>
              <a:ext uri="{FF2B5EF4-FFF2-40B4-BE49-F238E27FC236}">
                <a16:creationId xmlns:a16="http://schemas.microsoft.com/office/drawing/2014/main" id="{44D5C8DE-666B-E99B-0395-06B689B7EC1D}"/>
              </a:ext>
            </a:extLst>
          </p:cNvPr>
          <p:cNvSpPr/>
          <p:nvPr/>
        </p:nvSpPr>
        <p:spPr>
          <a:xfrm>
            <a:off x="3730334" y="4146465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tar: 5 Points 14">
            <a:extLst>
              <a:ext uri="{FF2B5EF4-FFF2-40B4-BE49-F238E27FC236}">
                <a16:creationId xmlns:a16="http://schemas.microsoft.com/office/drawing/2014/main" id="{8043A846-4B90-4C17-B557-71BDE18A44AB}"/>
              </a:ext>
            </a:extLst>
          </p:cNvPr>
          <p:cNvSpPr/>
          <p:nvPr/>
        </p:nvSpPr>
        <p:spPr>
          <a:xfrm>
            <a:off x="10301842" y="1909945"/>
            <a:ext cx="118753" cy="118753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909ED41-9F57-EEB4-7FF2-17D30A3CA6F8}"/>
              </a:ext>
            </a:extLst>
          </p:cNvPr>
          <p:cNvSpPr txBox="1"/>
          <p:nvPr/>
        </p:nvSpPr>
        <p:spPr>
          <a:xfrm>
            <a:off x="10420596" y="1781300"/>
            <a:ext cx="183077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RFKO signal on</a:t>
            </a:r>
            <a:endParaRPr lang="en-US"/>
          </a:p>
        </p:txBody>
      </p:sp>
      <p:sp>
        <p:nvSpPr>
          <p:cNvPr id="19" name="Star: 5 Points 18">
            <a:extLst>
              <a:ext uri="{FF2B5EF4-FFF2-40B4-BE49-F238E27FC236}">
                <a16:creationId xmlns:a16="http://schemas.microsoft.com/office/drawing/2014/main" id="{FEB816FF-D5A1-9861-BF19-B594A11C7243}"/>
              </a:ext>
            </a:extLst>
          </p:cNvPr>
          <p:cNvSpPr/>
          <p:nvPr/>
        </p:nvSpPr>
        <p:spPr>
          <a:xfrm>
            <a:off x="2366528" y="3661556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Star: 5 Points 21">
            <a:extLst>
              <a:ext uri="{FF2B5EF4-FFF2-40B4-BE49-F238E27FC236}">
                <a16:creationId xmlns:a16="http://schemas.microsoft.com/office/drawing/2014/main" id="{6FE27822-A2B8-3F3F-9D24-EDAB1C734BB3}"/>
              </a:ext>
            </a:extLst>
          </p:cNvPr>
          <p:cNvSpPr/>
          <p:nvPr/>
        </p:nvSpPr>
        <p:spPr>
          <a:xfrm>
            <a:off x="10301842" y="2276101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3A4080C-D0D8-CF86-9C3C-8C6E3187D45C}"/>
              </a:ext>
            </a:extLst>
          </p:cNvPr>
          <p:cNvSpPr txBox="1"/>
          <p:nvPr/>
        </p:nvSpPr>
        <p:spPr>
          <a:xfrm>
            <a:off x="10420598" y="2147454"/>
            <a:ext cx="183077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RFKO signal off</a:t>
            </a:r>
            <a:endParaRPr lang="en-US"/>
          </a:p>
        </p:txBody>
      </p:sp>
      <p:sp>
        <p:nvSpPr>
          <p:cNvPr id="9" name="Star: 5 Points 8">
            <a:extLst>
              <a:ext uri="{FF2B5EF4-FFF2-40B4-BE49-F238E27FC236}">
                <a16:creationId xmlns:a16="http://schemas.microsoft.com/office/drawing/2014/main" id="{8B57D975-9971-A66D-614F-B396B60B0EBB}"/>
              </a:ext>
            </a:extLst>
          </p:cNvPr>
          <p:cNvSpPr/>
          <p:nvPr/>
        </p:nvSpPr>
        <p:spPr>
          <a:xfrm>
            <a:off x="5307031" y="4632488"/>
            <a:ext cx="118753" cy="118753"/>
          </a:xfrm>
          <a:prstGeom prst="star5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F281FA3-FB51-5A41-2666-82E7B8AC6482}"/>
              </a:ext>
            </a:extLst>
          </p:cNvPr>
          <p:cNvSpPr txBox="1"/>
          <p:nvPr/>
        </p:nvSpPr>
        <p:spPr>
          <a:xfrm>
            <a:off x="-1" y="1831284"/>
            <a:ext cx="6268277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cs typeface="Arial"/>
              </a:rPr>
              <a:t>* </a:t>
            </a:r>
            <a:r>
              <a:rPr lang="en-US" sz="1200">
                <a:ea typeface="+mn-lt"/>
                <a:cs typeface="+mn-lt"/>
              </a:rPr>
              <a:t>Adjusted values to visualize behavior over time. </a:t>
            </a:r>
            <a:endParaRPr lang="en-US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20093430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/>
              <a:t>System Implementation Tests: </a:t>
            </a:r>
            <a:r>
              <a:rPr lang="el-GR"/>
              <a:t>Δ</a:t>
            </a:r>
            <a:r>
              <a:rPr lang="de-DE"/>
              <a:t>E = ± 4 </a:t>
            </a:r>
            <a:r>
              <a:rPr lang="de-DE" err="1"/>
              <a:t>MeV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/>
          <a:lstStyle/>
          <a:p>
            <a:r>
              <a:rPr lang="de-DE" err="1"/>
              <a:t>Comparison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up</a:t>
            </a:r>
            <a:r>
              <a:rPr lang="de-DE"/>
              <a:t>- / </a:t>
            </a:r>
            <a:r>
              <a:rPr lang="de-DE" err="1"/>
              <a:t>downwards</a:t>
            </a:r>
            <a:r>
              <a:rPr lang="de-DE"/>
              <a:t> </a:t>
            </a:r>
            <a:r>
              <a:rPr lang="de-DE" err="1"/>
              <a:t>operation</a:t>
            </a:r>
            <a:endParaRPr lang="de-DE"/>
          </a:p>
          <a:p>
            <a:r>
              <a:rPr lang="de-DE"/>
              <a:t>RF </a:t>
            </a:r>
            <a:r>
              <a:rPr lang="de-DE" err="1"/>
              <a:t>voltage</a:t>
            </a:r>
            <a:r>
              <a:rPr lang="de-DE"/>
              <a:t> </a:t>
            </a:r>
            <a:r>
              <a:rPr lang="de-DE" err="1"/>
              <a:t>kept</a:t>
            </a:r>
            <a:r>
              <a:rPr lang="de-DE"/>
              <a:t> </a:t>
            </a:r>
            <a:r>
              <a:rPr lang="de-DE" err="1"/>
              <a:t>constant</a:t>
            </a:r>
            <a:r>
              <a:rPr lang="de-DE"/>
              <a:t> at 140 V </a:t>
            </a:r>
          </a:p>
          <a:p>
            <a:endParaRPr lang="en-US"/>
          </a:p>
          <a:p>
            <a:endParaRPr lang="de-DE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670" y="2449400"/>
            <a:ext cx="5867808" cy="312949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5478" y="2449400"/>
            <a:ext cx="5867808" cy="312949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994B5B3-CA27-641B-8F3A-0A2EE60898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1937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/>
              <a:t>System Implementation Tests: </a:t>
            </a:r>
            <a:r>
              <a:rPr lang="el-GR"/>
              <a:t>Δ</a:t>
            </a:r>
            <a:r>
              <a:rPr lang="de-DE"/>
              <a:t>E = ± 4 </a:t>
            </a:r>
            <a:r>
              <a:rPr lang="de-DE" err="1"/>
              <a:t>MeV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 vert="horz" lIns="0" tIns="0" rIns="0" bIns="0" rtlCol="0" anchor="t">
            <a:noAutofit/>
          </a:bodyPr>
          <a:lstStyle/>
          <a:p>
            <a:pPr marL="269875" indent="-269875"/>
            <a:r>
              <a:rPr lang="de-DE" err="1"/>
              <a:t>Losses</a:t>
            </a:r>
            <a:r>
              <a:rPr lang="de-DE"/>
              <a:t> in </a:t>
            </a:r>
            <a:r>
              <a:rPr lang="de-DE" err="1"/>
              <a:t>both</a:t>
            </a:r>
            <a:r>
              <a:rPr lang="de-DE"/>
              <a:t> </a:t>
            </a:r>
            <a:r>
              <a:rPr lang="de-DE" err="1"/>
              <a:t>up</a:t>
            </a:r>
            <a:r>
              <a:rPr lang="de-DE"/>
              <a:t>- and </a:t>
            </a:r>
            <a:r>
              <a:rPr lang="de-DE" err="1"/>
              <a:t>downwards</a:t>
            </a:r>
            <a:r>
              <a:rPr lang="de-DE"/>
              <a:t> </a:t>
            </a:r>
            <a:r>
              <a:rPr lang="de-DE" err="1"/>
              <a:t>operation</a:t>
            </a:r>
            <a:endParaRPr lang="de-DE">
              <a:cs typeface="Arial" panose="020B0604020202020204"/>
            </a:endParaRPr>
          </a:p>
          <a:p>
            <a:pPr marL="269875" indent="-269875"/>
            <a:r>
              <a:rPr lang="de-DE"/>
              <a:t>RF </a:t>
            </a:r>
            <a:r>
              <a:rPr lang="de-DE" err="1"/>
              <a:t>voltage</a:t>
            </a:r>
            <a:r>
              <a:rPr lang="de-DE"/>
              <a:t> </a:t>
            </a:r>
            <a:r>
              <a:rPr lang="de-DE" err="1"/>
              <a:t>kept</a:t>
            </a:r>
            <a:r>
              <a:rPr lang="de-DE"/>
              <a:t> </a:t>
            </a:r>
            <a:r>
              <a:rPr lang="de-DE" err="1"/>
              <a:t>constant</a:t>
            </a:r>
            <a:r>
              <a:rPr lang="de-DE"/>
              <a:t> at 140 V </a:t>
            </a:r>
            <a:endParaRPr lang="de-DE">
              <a:cs typeface="Arial"/>
            </a:endParaRPr>
          </a:p>
          <a:p>
            <a:pPr marL="0" indent="0">
              <a:buNone/>
            </a:pPr>
            <a:endParaRPr lang="de-DE">
              <a:cs typeface="Arial"/>
            </a:endParaRPr>
          </a:p>
          <a:p>
            <a:pPr marL="269875" indent="-269875"/>
            <a:endParaRPr lang="en-US">
              <a:cs typeface="Arial" panose="020B0604020202020204"/>
            </a:endParaRPr>
          </a:p>
          <a:p>
            <a:pPr marL="269875" indent="-269875"/>
            <a:endParaRPr lang="de-DE">
              <a:cs typeface="Arial" panose="020B0604020202020204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995" y="2449574"/>
            <a:ext cx="5867158" cy="312915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5478" y="2449400"/>
            <a:ext cx="5867808" cy="312949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2BE59B1-0AA0-D0E3-8B6B-F821BFAFBD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B5B9C82-D6A7-890D-B99F-CBA5E2FA6143}"/>
              </a:ext>
            </a:extLst>
          </p:cNvPr>
          <p:cNvSpPr txBox="1"/>
          <p:nvPr/>
        </p:nvSpPr>
        <p:spPr>
          <a:xfrm>
            <a:off x="-1" y="6003234"/>
            <a:ext cx="6268277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cs typeface="Arial"/>
              </a:rPr>
              <a:t>* </a:t>
            </a:r>
            <a:r>
              <a:rPr lang="en-US" sz="1200">
                <a:ea typeface="+mn-lt"/>
                <a:cs typeface="+mn-lt"/>
              </a:rPr>
              <a:t>Adjusted values to visualize behavior over time. </a:t>
            </a:r>
            <a:endParaRPr lang="en-US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7992460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/>
              <a:t>System Implementation Tests: </a:t>
            </a:r>
            <a:r>
              <a:rPr lang="el-GR"/>
              <a:t>Δ</a:t>
            </a:r>
            <a:r>
              <a:rPr lang="de-DE"/>
              <a:t>E = ± 4 </a:t>
            </a:r>
            <a:r>
              <a:rPr lang="de-DE" err="1"/>
              <a:t>MeV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461963" y="1959445"/>
            <a:ext cx="9288463" cy="4175125"/>
          </a:xfrm>
        </p:spPr>
        <p:txBody>
          <a:bodyPr/>
          <a:lstStyle/>
          <a:p>
            <a:r>
              <a:rPr lang="de-DE"/>
              <a:t>RF </a:t>
            </a:r>
            <a:r>
              <a:rPr lang="de-DE" err="1"/>
              <a:t>voltage</a:t>
            </a:r>
            <a:r>
              <a:rPr lang="de-DE"/>
              <a:t> </a:t>
            </a:r>
            <a:r>
              <a:rPr lang="de-DE" err="1"/>
              <a:t>kept</a:t>
            </a:r>
            <a:r>
              <a:rPr lang="de-DE"/>
              <a:t> </a:t>
            </a:r>
            <a:r>
              <a:rPr lang="de-DE" err="1"/>
              <a:t>constant</a:t>
            </a:r>
            <a:r>
              <a:rPr lang="de-DE"/>
              <a:t> at 140 V </a:t>
            </a:r>
          </a:p>
          <a:p>
            <a:endParaRPr lang="en-US"/>
          </a:p>
          <a:p>
            <a:endParaRPr lang="de-DE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995" y="2449574"/>
            <a:ext cx="5867158" cy="312915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5479" y="2449400"/>
            <a:ext cx="5867806" cy="3129497"/>
          </a:xfrm>
          <a:prstGeom prst="rect">
            <a:avLst/>
          </a:prstGeom>
        </p:spPr>
      </p:pic>
      <p:sp>
        <p:nvSpPr>
          <p:cNvPr id="8" name="Content Placeholder 6"/>
          <p:cNvSpPr txBox="1">
            <a:spLocks/>
          </p:cNvSpPr>
          <p:nvPr/>
        </p:nvSpPr>
        <p:spPr bwMode="gray">
          <a:xfrm>
            <a:off x="6311264" y="1926585"/>
            <a:ext cx="9288463" cy="41751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70000" indent="-27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714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indent="-269875"/>
            <a:r>
              <a:rPr lang="de-DE"/>
              <a:t>RF </a:t>
            </a:r>
            <a:r>
              <a:rPr lang="de-DE" err="1"/>
              <a:t>voltage</a:t>
            </a:r>
            <a:r>
              <a:rPr lang="de-DE"/>
              <a:t> </a:t>
            </a:r>
            <a:r>
              <a:rPr lang="de-DE" err="1"/>
              <a:t>ramped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~ 300 V </a:t>
            </a:r>
            <a:r>
              <a:rPr lang="de-DE" err="1"/>
              <a:t>during</a:t>
            </a:r>
            <a:br>
              <a:rPr lang="de-DE">
                <a:cs typeface="Arial"/>
              </a:rPr>
            </a:br>
            <a:r>
              <a:rPr lang="de-DE" err="1"/>
              <a:t>energy</a:t>
            </a:r>
            <a:r>
              <a:rPr lang="de-DE"/>
              <a:t> </a:t>
            </a:r>
            <a:r>
              <a:rPr lang="de-DE" err="1"/>
              <a:t>change</a:t>
            </a:r>
            <a:r>
              <a:rPr lang="de-DE"/>
              <a:t> </a:t>
            </a:r>
            <a:endParaRPr lang="de-DE">
              <a:cs typeface="Arial"/>
            </a:endParaRPr>
          </a:p>
          <a:p>
            <a:pPr marL="269875" indent="-269875"/>
            <a:endParaRPr lang="en-US">
              <a:cs typeface="Arial" panose="020B0604020202020204"/>
            </a:endParaRPr>
          </a:p>
          <a:p>
            <a:pPr marL="269875" indent="-269875"/>
            <a:endParaRPr lang="de-DE">
              <a:cs typeface="Arial" panose="020B0604020202020204"/>
            </a:endParaRPr>
          </a:p>
        </p:txBody>
      </p:sp>
      <p:sp>
        <p:nvSpPr>
          <p:cNvPr id="11" name="Content Placeholder 6"/>
          <p:cNvSpPr txBox="1">
            <a:spLocks/>
          </p:cNvSpPr>
          <p:nvPr/>
        </p:nvSpPr>
        <p:spPr bwMode="gray">
          <a:xfrm>
            <a:off x="461963" y="5733256"/>
            <a:ext cx="9288463" cy="4175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714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u="sng"/>
              <a:t>As </a:t>
            </a:r>
            <a:r>
              <a:rPr lang="de-DE" u="sng" err="1"/>
              <a:t>expected</a:t>
            </a:r>
            <a:r>
              <a:rPr lang="de-DE" u="sng"/>
              <a:t>: </a:t>
            </a:r>
            <a:r>
              <a:rPr lang="de-DE" u="sng" err="1"/>
              <a:t>No</a:t>
            </a:r>
            <a:r>
              <a:rPr lang="de-DE" u="sng"/>
              <a:t> </a:t>
            </a:r>
            <a:r>
              <a:rPr lang="de-DE" u="sng" err="1"/>
              <a:t>more</a:t>
            </a:r>
            <a:r>
              <a:rPr lang="de-DE" u="sng"/>
              <a:t> </a:t>
            </a:r>
            <a:r>
              <a:rPr lang="de-DE" u="sng" err="1"/>
              <a:t>losses</a:t>
            </a:r>
            <a:r>
              <a:rPr lang="de-DE" u="sng"/>
              <a:t>! </a:t>
            </a:r>
          </a:p>
          <a:p>
            <a:endParaRPr lang="en-US"/>
          </a:p>
          <a:p>
            <a:endParaRPr lang="de-DE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2B283ED-5BBD-23CA-E9CA-500B5AD736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5317E31-8702-91D2-08C2-E0498C678B77}"/>
              </a:ext>
            </a:extLst>
          </p:cNvPr>
          <p:cNvSpPr txBox="1"/>
          <p:nvPr/>
        </p:nvSpPr>
        <p:spPr>
          <a:xfrm>
            <a:off x="-1" y="6003234"/>
            <a:ext cx="6268277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cs typeface="Arial"/>
              </a:rPr>
              <a:t>* </a:t>
            </a:r>
            <a:r>
              <a:rPr lang="en-US" sz="1200">
                <a:ea typeface="+mn-lt"/>
                <a:cs typeface="+mn-lt"/>
              </a:rPr>
              <a:t>Adjusted values to visualize behavior over time. </a:t>
            </a:r>
            <a:endParaRPr lang="en-US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8407004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8E8A50-8F70-47A3-A824-0ACD26E3E0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21EEE21-1167-25CC-8912-594EA06DE6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 dirty="0" err="1"/>
              <a:t>MedAustron</a:t>
            </a:r>
            <a:r>
              <a:rPr lang="de-DE" dirty="0"/>
              <a:t> </a:t>
            </a:r>
            <a:endParaRPr lang="de-DE" dirty="0">
              <a:cs typeface="Arial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FBF0139-F354-FF24-1611-A24DB202E9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 vert="horz" lIns="0" tIns="0" rIns="0" bIns="0" rtlCol="0" anchor="t">
            <a:noAutofit/>
          </a:bodyPr>
          <a:lstStyle/>
          <a:p>
            <a:pPr marL="269875" indent="-269875"/>
            <a:r>
              <a:rPr lang="en-US" dirty="0">
                <a:cs typeface="Arial"/>
              </a:rPr>
              <a:t>Located in Wiener Neustadt,</a:t>
            </a:r>
            <a:br>
              <a:rPr lang="en-US" dirty="0">
                <a:cs typeface="Arial"/>
              </a:rPr>
            </a:br>
            <a:r>
              <a:rPr lang="en-US" dirty="0">
                <a:cs typeface="Arial"/>
              </a:rPr>
              <a:t>Austria</a:t>
            </a:r>
          </a:p>
          <a:p>
            <a:pPr marL="269875" indent="-269875"/>
            <a:r>
              <a:rPr lang="en-US" dirty="0">
                <a:cs typeface="Arial"/>
              </a:rPr>
              <a:t>Based on </a:t>
            </a:r>
            <a:r>
              <a:rPr lang="en-US" b="1" dirty="0">
                <a:cs typeface="Arial"/>
              </a:rPr>
              <a:t>PIMMS</a:t>
            </a:r>
            <a:r>
              <a:rPr lang="en-US" dirty="0">
                <a:cs typeface="Arial"/>
              </a:rPr>
              <a:t> [1] study </a:t>
            </a:r>
          </a:p>
          <a:p>
            <a:pPr marL="269875" indent="-269875"/>
            <a:r>
              <a:rPr lang="en-US" dirty="0">
                <a:cs typeface="Arial"/>
              </a:rPr>
              <a:t>Synchrotron/ main ring</a:t>
            </a:r>
          </a:p>
          <a:p>
            <a:pPr marL="269875" indent="-269875"/>
            <a:r>
              <a:rPr lang="en-US" b="1" dirty="0">
                <a:cs typeface="Arial"/>
              </a:rPr>
              <a:t>Clinical treatment</a:t>
            </a:r>
          </a:p>
          <a:p>
            <a:pPr lvl="1" indent="-271145"/>
            <a:r>
              <a:rPr lang="en-US" dirty="0">
                <a:cs typeface="Arial"/>
              </a:rPr>
              <a:t>Proton: 62 –252 MeV</a:t>
            </a:r>
          </a:p>
          <a:p>
            <a:pPr lvl="1" indent="-271145"/>
            <a:r>
              <a:rPr lang="en-US" dirty="0">
                <a:cs typeface="Arial"/>
              </a:rPr>
              <a:t>Carbon: 120 – 402 MeV/u </a:t>
            </a:r>
          </a:p>
          <a:p>
            <a:pPr marL="269875" indent="-269875"/>
            <a:r>
              <a:rPr lang="en-US" b="1" dirty="0">
                <a:cs typeface="Arial"/>
              </a:rPr>
              <a:t>Non-clinical research</a:t>
            </a:r>
            <a:r>
              <a:rPr lang="en-US" dirty="0">
                <a:cs typeface="Arial"/>
              </a:rPr>
              <a:t> in </a:t>
            </a:r>
            <a:br>
              <a:rPr lang="en-US" dirty="0">
                <a:cs typeface="Arial"/>
              </a:rPr>
            </a:br>
            <a:r>
              <a:rPr lang="en-US" dirty="0">
                <a:cs typeface="Arial"/>
              </a:rPr>
              <a:t>first irradiation room (IR) </a:t>
            </a:r>
          </a:p>
          <a:p>
            <a:pPr lvl="1" indent="-271145"/>
            <a:r>
              <a:rPr lang="en-US" dirty="0">
                <a:cs typeface="Arial"/>
              </a:rPr>
              <a:t>Low flux</a:t>
            </a:r>
          </a:p>
          <a:p>
            <a:pPr lvl="1" indent="-271145"/>
            <a:r>
              <a:rPr lang="en-US" dirty="0">
                <a:cs typeface="Arial"/>
              </a:rPr>
              <a:t>Helium</a:t>
            </a:r>
          </a:p>
          <a:p>
            <a:pPr lvl="1" indent="-271145"/>
            <a:r>
              <a:rPr lang="en-US" dirty="0">
                <a:cs typeface="Arial"/>
              </a:rPr>
              <a:t>800 MeV p+</a:t>
            </a:r>
          </a:p>
          <a:p>
            <a:pPr lvl="1" indent="-271145"/>
            <a:r>
              <a:rPr lang="en-US" dirty="0">
                <a:cs typeface="Arial"/>
              </a:rPr>
              <a:t>Different research fields! </a:t>
            </a:r>
          </a:p>
          <a:p>
            <a:pPr marL="269875" indent="-269875"/>
            <a:r>
              <a:rPr lang="en-US" dirty="0">
                <a:cs typeface="Arial"/>
              </a:rPr>
              <a:t>TU Wien</a:t>
            </a:r>
            <a:br>
              <a:rPr lang="en-US" dirty="0">
                <a:cs typeface="Arial"/>
              </a:rPr>
            </a:br>
            <a:r>
              <a:rPr lang="en-US" dirty="0">
                <a:cs typeface="Arial"/>
              </a:rPr>
              <a:t>Technical University Vienna </a:t>
            </a:r>
            <a:endParaRPr lang="en-US">
              <a:cs typeface="Arial"/>
            </a:endParaRPr>
          </a:p>
          <a:p>
            <a:pPr lvl="1" indent="-271145"/>
            <a:endParaRPr lang="en-US" dirty="0">
              <a:cs typeface="Arial"/>
            </a:endParaRPr>
          </a:p>
          <a:p>
            <a:pPr lvl="1" indent="-271145"/>
            <a:endParaRPr lang="en-US" dirty="0">
              <a:cs typeface="Arial"/>
            </a:endParaRPr>
          </a:p>
          <a:p>
            <a:pPr marL="269875" indent="-269875"/>
            <a:endParaRPr lang="en-US" dirty="0">
              <a:cs typeface="Arial"/>
            </a:endParaRPr>
          </a:p>
          <a:p>
            <a:pPr marL="269875" indent="-269875"/>
            <a:endParaRPr lang="en-US" dirty="0">
              <a:cs typeface="Arial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C34DE43-50C7-39BF-F0EB-4742F4AAA2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AE7D09E-F899-1C97-16F1-7B5731ABC5C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953D343-ADA4-F160-E47C-8C3E85CC58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5396" y="1118259"/>
            <a:ext cx="6856661" cy="484909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B65AD7C-44F1-225D-B093-E8833F4285C2}"/>
              </a:ext>
            </a:extLst>
          </p:cNvPr>
          <p:cNvSpPr txBox="1"/>
          <p:nvPr/>
        </p:nvSpPr>
        <p:spPr>
          <a:xfrm>
            <a:off x="10222588" y="4999684"/>
            <a:ext cx="1656521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© </a:t>
            </a:r>
            <a:r>
              <a:rPr lang="en-US" err="1">
                <a:cs typeface="Arial"/>
              </a:rPr>
              <a:t>MedAustron</a:t>
            </a:r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05117969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109143" y="600432"/>
            <a:ext cx="9289498" cy="828675"/>
          </a:xfrm>
        </p:spPr>
        <p:txBody>
          <a:bodyPr/>
          <a:lstStyle/>
          <a:p>
            <a:r>
              <a:rPr lang="de-DE"/>
              <a:t>Longitudinal </a:t>
            </a:r>
            <a:r>
              <a:rPr lang="de-DE" err="1"/>
              <a:t>Tomography</a:t>
            </a:r>
            <a:r>
              <a:rPr lang="de-DE"/>
              <a:t> after Energy Change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286849" y="1567201"/>
            <a:ext cx="9288463" cy="4175125"/>
          </a:xfrm>
        </p:spPr>
        <p:txBody>
          <a:bodyPr vert="horz" lIns="0" tIns="0" rIns="0" bIns="0" rtlCol="0" anchor="t">
            <a:noAutofit/>
          </a:bodyPr>
          <a:lstStyle/>
          <a:p>
            <a:pPr marL="269875" indent="-269875"/>
            <a:r>
              <a:rPr lang="de-DE" err="1"/>
              <a:t>Kept</a:t>
            </a:r>
            <a:r>
              <a:rPr lang="de-DE"/>
              <a:t> at high RF </a:t>
            </a:r>
            <a:r>
              <a:rPr lang="de-DE" err="1"/>
              <a:t>voltage</a:t>
            </a:r>
            <a:r>
              <a:rPr lang="de-DE"/>
              <a:t> (930 V) </a:t>
            </a:r>
            <a:r>
              <a:rPr lang="de-DE" err="1"/>
              <a:t>during</a:t>
            </a:r>
            <a:r>
              <a:rPr lang="de-DE"/>
              <a:t> </a:t>
            </a:r>
            <a:r>
              <a:rPr lang="de-DE" err="1"/>
              <a:t>energy</a:t>
            </a:r>
            <a:r>
              <a:rPr lang="de-DE"/>
              <a:t> </a:t>
            </a:r>
            <a:r>
              <a:rPr lang="de-DE" err="1"/>
              <a:t>change</a:t>
            </a:r>
            <a:endParaRPr lang="de-DE">
              <a:cs typeface="Arial" panose="020B0604020202020204"/>
            </a:endParaRPr>
          </a:p>
          <a:p>
            <a:pPr marL="269875" indent="-269875"/>
            <a:r>
              <a:rPr lang="de-DE" err="1"/>
              <a:t>Observed</a:t>
            </a:r>
            <a:r>
              <a:rPr lang="de-DE"/>
              <a:t>:</a:t>
            </a:r>
            <a:endParaRPr lang="de-DE">
              <a:cs typeface="Arial"/>
            </a:endParaRPr>
          </a:p>
          <a:p>
            <a:pPr lvl="1" indent="-271145"/>
            <a:r>
              <a:rPr lang="de-DE" err="1"/>
              <a:t>Quadrupolar</a:t>
            </a:r>
            <a:r>
              <a:rPr lang="de-DE"/>
              <a:t>-mode </a:t>
            </a:r>
            <a:r>
              <a:rPr lang="de-DE" err="1"/>
              <a:t>oscillations</a:t>
            </a:r>
            <a:r>
              <a:rPr lang="de-DE"/>
              <a:t> </a:t>
            </a:r>
            <a:endParaRPr lang="de-DE">
              <a:cs typeface="Arial" panose="020B0604020202020204"/>
            </a:endParaRPr>
          </a:p>
          <a:p>
            <a:pPr lvl="1" indent="-271145"/>
            <a:r>
              <a:rPr lang="de-DE"/>
              <a:t>Splitting </a:t>
            </a:r>
            <a:r>
              <a:rPr lang="de-DE" err="1"/>
              <a:t>of</a:t>
            </a:r>
            <a:r>
              <a:rPr lang="de-DE"/>
              <a:t> beam in </a:t>
            </a:r>
            <a:r>
              <a:rPr lang="de-DE" err="1"/>
              <a:t>beamlets</a:t>
            </a:r>
            <a:r>
              <a:rPr lang="de-DE"/>
              <a:t> </a:t>
            </a:r>
            <a:endParaRPr lang="en-US">
              <a:cs typeface="Arial" panose="020B0604020202020204"/>
            </a:endParaRPr>
          </a:p>
          <a:p>
            <a:pPr marL="269875" indent="-269875"/>
            <a:endParaRPr lang="de-DE">
              <a:cs typeface="Arial" panose="020B0604020202020204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6439" r="-222"/>
          <a:stretch/>
        </p:blipFill>
        <p:spPr>
          <a:xfrm>
            <a:off x="1262676" y="3284983"/>
            <a:ext cx="3969227" cy="277906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581BF04-4CF0-2521-350A-1D54F01F89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  <p:pic>
        <p:nvPicPr>
          <p:cNvPr id="12" name="B5">
            <a:hlinkClick r:id="" action="ppaction://media"/>
            <a:extLst>
              <a:ext uri="{FF2B5EF4-FFF2-40B4-BE49-F238E27FC236}">
                <a16:creationId xmlns:a16="http://schemas.microsoft.com/office/drawing/2014/main" id="{92DBFBDA-3A42-B69D-B6B1-D0FA6FD262E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6632713" y="2345467"/>
            <a:ext cx="4691270" cy="353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2969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29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11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/>
              <a:t>Longitudinal </a:t>
            </a:r>
            <a:r>
              <a:rPr lang="de-DE" err="1"/>
              <a:t>Mismatches</a:t>
            </a:r>
            <a:r>
              <a:rPr lang="de-DE"/>
              <a:t> at Flat Top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797467" y="1580893"/>
            <a:ext cx="4921794" cy="4175125"/>
          </a:xfrm>
        </p:spPr>
        <p:txBody>
          <a:bodyPr vert="horz" lIns="0" tIns="0" rIns="0" bIns="0" rtlCol="0" anchor="t">
            <a:noAutofit/>
          </a:bodyPr>
          <a:lstStyle/>
          <a:p>
            <a:pPr marL="269875" indent="-269875"/>
            <a:r>
              <a:rPr lang="de-DE" err="1"/>
              <a:t>If</a:t>
            </a:r>
            <a:r>
              <a:rPr lang="de-DE"/>
              <a:t> </a:t>
            </a:r>
            <a:r>
              <a:rPr lang="de-DE" b="1" err="1"/>
              <a:t>bunched</a:t>
            </a:r>
            <a:r>
              <a:rPr lang="de-DE"/>
              <a:t> at flat top (~ </a:t>
            </a:r>
            <a:r>
              <a:rPr lang="de-DE" b="1" err="1"/>
              <a:t>seconds</a:t>
            </a:r>
            <a:r>
              <a:rPr lang="de-DE"/>
              <a:t>)</a:t>
            </a:r>
            <a:endParaRPr lang="en-US"/>
          </a:p>
          <a:p>
            <a:pPr lvl="1" indent="-271145"/>
            <a:r>
              <a:rPr lang="de-DE" b="1" err="1"/>
              <a:t>Coherent</a:t>
            </a:r>
            <a:r>
              <a:rPr lang="de-DE" b="1"/>
              <a:t> </a:t>
            </a:r>
            <a:r>
              <a:rPr lang="de-DE" b="1" err="1"/>
              <a:t>oscillations</a:t>
            </a:r>
            <a:endParaRPr lang="de-DE" b="1">
              <a:cs typeface="Arial" panose="020B0604020202020204"/>
            </a:endParaRPr>
          </a:p>
          <a:p>
            <a:pPr lvl="1" indent="-271145"/>
            <a:r>
              <a:rPr lang="de-DE" err="1"/>
              <a:t>Observed</a:t>
            </a:r>
            <a:r>
              <a:rPr lang="de-DE"/>
              <a:t> </a:t>
            </a:r>
            <a:r>
              <a:rPr lang="de-DE" err="1"/>
              <a:t>with</a:t>
            </a:r>
            <a:r>
              <a:rPr lang="de-DE"/>
              <a:t> RF </a:t>
            </a:r>
            <a:r>
              <a:rPr lang="de-DE" err="1"/>
              <a:t>regulation</a:t>
            </a:r>
            <a:r>
              <a:rPr lang="de-DE"/>
              <a:t> </a:t>
            </a:r>
            <a:r>
              <a:rPr lang="de-DE" err="1"/>
              <a:t>loops</a:t>
            </a:r>
            <a:r>
              <a:rPr lang="de-DE"/>
              <a:t> on and off; </a:t>
            </a:r>
            <a:br>
              <a:rPr lang="de-DE"/>
            </a:br>
            <a:r>
              <a:rPr lang="de-DE"/>
              <a:t>different </a:t>
            </a:r>
            <a:r>
              <a:rPr lang="de-DE" err="1"/>
              <a:t>characteristics</a:t>
            </a:r>
            <a:endParaRPr lang="de-DE">
              <a:cs typeface="Arial" panose="020B0604020202020204"/>
            </a:endParaRPr>
          </a:p>
          <a:p>
            <a:pPr lvl="1" indent="-271145"/>
            <a:r>
              <a:rPr lang="de-DE"/>
              <a:t>With </a:t>
            </a:r>
            <a:r>
              <a:rPr lang="de-DE" err="1"/>
              <a:t>loops</a:t>
            </a:r>
            <a:r>
              <a:rPr lang="de-DE"/>
              <a:t>:  </a:t>
            </a:r>
            <a:endParaRPr lang="de-DE">
              <a:cs typeface="Arial"/>
            </a:endParaRPr>
          </a:p>
          <a:p>
            <a:pPr marL="804545" lvl="2"/>
            <a:r>
              <a:rPr lang="de-DE" err="1"/>
              <a:t>Mostly</a:t>
            </a:r>
            <a:r>
              <a:rPr lang="de-DE"/>
              <a:t> </a:t>
            </a:r>
            <a:r>
              <a:rPr lang="de-DE" err="1"/>
              <a:t>quadrupolar</a:t>
            </a:r>
            <a:r>
              <a:rPr lang="de-DE"/>
              <a:t>-mode </a:t>
            </a:r>
            <a:r>
              <a:rPr lang="de-DE" err="1"/>
              <a:t>oscillations</a:t>
            </a:r>
            <a:endParaRPr lang="de-DE">
              <a:cs typeface="Arial" panose="020B0604020202020204"/>
            </a:endParaRPr>
          </a:p>
          <a:p>
            <a:pPr marL="804545" lvl="2"/>
            <a:r>
              <a:rPr lang="de-DE" err="1"/>
              <a:t>Occasionally</a:t>
            </a:r>
            <a:r>
              <a:rPr lang="de-DE"/>
              <a:t> </a:t>
            </a:r>
            <a:r>
              <a:rPr lang="de-DE" err="1"/>
              <a:t>splitting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beam in </a:t>
            </a:r>
            <a:r>
              <a:rPr lang="de-DE" err="1"/>
              <a:t>beamlets</a:t>
            </a:r>
            <a:endParaRPr lang="de-DE">
              <a:cs typeface="Arial" panose="020B0604020202020204"/>
            </a:endParaRPr>
          </a:p>
          <a:p>
            <a:pPr lvl="1" indent="-271145"/>
            <a:r>
              <a:rPr lang="de-DE"/>
              <a:t>Investigation </a:t>
            </a:r>
            <a:r>
              <a:rPr lang="de-DE" err="1"/>
              <a:t>ongoing</a:t>
            </a:r>
            <a:endParaRPr lang="de-DE">
              <a:cs typeface="Arial" panose="020B0604020202020204"/>
            </a:endParaRPr>
          </a:p>
          <a:p>
            <a:pPr marL="804545" lvl="2"/>
            <a:r>
              <a:rPr lang="de-DE" err="1"/>
              <a:t>Dependence</a:t>
            </a:r>
            <a:r>
              <a:rPr lang="de-DE"/>
              <a:t> on </a:t>
            </a:r>
            <a:r>
              <a:rPr lang="de-DE" err="1"/>
              <a:t>chromaticity</a:t>
            </a:r>
            <a:r>
              <a:rPr lang="de-DE"/>
              <a:t>?</a:t>
            </a:r>
            <a:endParaRPr lang="de-DE">
              <a:cs typeface="Arial" panose="020B0604020202020204"/>
            </a:endParaRPr>
          </a:p>
          <a:p>
            <a:pPr marL="804545" lvl="2"/>
            <a:r>
              <a:rPr lang="de-DE" b="1"/>
              <a:t>WHY?</a:t>
            </a:r>
            <a:r>
              <a:rPr lang="de-DE"/>
              <a:t> </a:t>
            </a:r>
            <a:endParaRPr lang="de-DE">
              <a:cs typeface="Arial" panose="020B0604020202020204"/>
            </a:endParaRPr>
          </a:p>
          <a:p>
            <a:pPr marL="269875" indent="-269875"/>
            <a:endParaRPr lang="de-DE">
              <a:cs typeface="Arial" panose="020B0604020202020204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8" name="Content Placeholder 1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24" r="685"/>
          <a:stretch/>
        </p:blipFill>
        <p:spPr>
          <a:xfrm>
            <a:off x="5816416" y="1831247"/>
            <a:ext cx="6280868" cy="378859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3A4A814-68BE-FFEC-C690-03A3C0B9F0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41988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108" y="1099344"/>
            <a:ext cx="4458966" cy="828675"/>
          </a:xfrm>
        </p:spPr>
        <p:txBody>
          <a:bodyPr/>
          <a:lstStyle/>
          <a:p>
            <a:r>
              <a:rPr lang="de-DE"/>
              <a:t>930 V</a:t>
            </a:r>
            <a:endParaRPr lang="en-US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1"/>
          </p:nvPr>
        </p:nvSpPr>
        <p:spPr>
          <a:xfrm>
            <a:off x="6418856" y="1099344"/>
            <a:ext cx="4465639" cy="828674"/>
          </a:xfrm>
        </p:spPr>
        <p:txBody>
          <a:bodyPr/>
          <a:lstStyle/>
          <a:p>
            <a:r>
              <a:rPr lang="en-US"/>
              <a:t>140 V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sp>
        <p:nvSpPr>
          <p:cNvPr id="33" name="Title 5"/>
          <p:cNvSpPr txBox="1">
            <a:spLocks/>
          </p:cNvSpPr>
          <p:nvPr/>
        </p:nvSpPr>
        <p:spPr bwMode="gray">
          <a:xfrm>
            <a:off x="1307065" y="610328"/>
            <a:ext cx="9289498" cy="8286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Longitudinal </a:t>
            </a:r>
            <a:r>
              <a:rPr lang="de-DE" err="1"/>
              <a:t>Tomography</a:t>
            </a:r>
            <a:r>
              <a:rPr lang="de-DE"/>
              <a:t> at Flat Top</a:t>
            </a:r>
            <a:endParaRPr lang="en-US"/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/>
              <a:t>[8] Longitudinal tomograph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3526C0C-9CFA-9ED3-1CCB-83008549406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  <p:pic>
        <p:nvPicPr>
          <p:cNvPr id="11" name="140">
            <a:hlinkClick r:id="" action="ppaction://media"/>
            <a:extLst>
              <a:ext uri="{FF2B5EF4-FFF2-40B4-BE49-F238E27FC236}">
                <a16:creationId xmlns:a16="http://schemas.microsoft.com/office/drawing/2014/main" id="{38739384-982C-4D6C-0BD9-FD56C1D8890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6420678" y="1712844"/>
            <a:ext cx="5208106" cy="3896140"/>
          </a:xfrm>
          <a:prstGeom prst="rect">
            <a:avLst/>
          </a:prstGeom>
        </p:spPr>
      </p:pic>
      <p:pic>
        <p:nvPicPr>
          <p:cNvPr id="12" name="930">
            <a:hlinkClick r:id="" action="ppaction://media"/>
            <a:extLst>
              <a:ext uri="{FF2B5EF4-FFF2-40B4-BE49-F238E27FC236}">
                <a16:creationId xmlns:a16="http://schemas.microsoft.com/office/drawing/2014/main" id="{46AC8BDB-7BFA-EEAA-C8CA-2BD321DB6F9F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463825" y="1712842"/>
            <a:ext cx="5208105" cy="3896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6366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9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  <p:seq concurrent="1" nextAc="seek">
              <p:cTn id="10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1" fill="hold">
                      <p:stCondLst>
                        <p:cond delay="0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4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video>
              <p:cMediaNode>
                <p:cTn id="15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  <p:seq concurrent="1" nextAc="seek">
              <p:cTn id="16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7" fill="hold">
                      <p:stCondLst>
                        <p:cond delay="0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0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en-US"/>
              <a:t>Summary and Outlook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797467" y="1580893"/>
            <a:ext cx="9799096" cy="4175125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en-US" u="sng" dirty="0"/>
              <a:t>So far:</a:t>
            </a:r>
          </a:p>
          <a:p>
            <a:pPr lvl="1" indent="-271145"/>
            <a:r>
              <a:rPr lang="en-US" dirty="0"/>
              <a:t>Workflow for arbitrary energy steps established </a:t>
            </a:r>
            <a:endParaRPr lang="en-US">
              <a:cs typeface="Arial"/>
            </a:endParaRPr>
          </a:p>
          <a:p>
            <a:pPr lvl="1" indent="-271145"/>
            <a:r>
              <a:rPr lang="en-US" dirty="0"/>
              <a:t>First exploratory measurements with new MEE and new RFKO exciter control system </a:t>
            </a:r>
            <a:endParaRPr lang="en-US">
              <a:cs typeface="Arial" panose="020B0604020202020204"/>
            </a:endParaRPr>
          </a:p>
          <a:p>
            <a:pPr lvl="1" indent="-271145"/>
            <a:r>
              <a:rPr lang="en-US" dirty="0"/>
              <a:t>Compatibility with Xsuite simulations </a:t>
            </a:r>
          </a:p>
          <a:p>
            <a:pPr marL="269875" indent="-269875"/>
            <a:endParaRPr lang="en-US" dirty="0"/>
          </a:p>
          <a:p>
            <a:pPr marL="0" indent="0">
              <a:buNone/>
            </a:pPr>
            <a:r>
              <a:rPr lang="en-US" u="sng" dirty="0"/>
              <a:t>Next steps:</a:t>
            </a:r>
            <a:endParaRPr lang="en-US" u="sng" dirty="0">
              <a:cs typeface="Arial"/>
            </a:endParaRPr>
          </a:p>
          <a:p>
            <a:pPr lvl="1" indent="-271145"/>
            <a:r>
              <a:rPr lang="en-US" dirty="0"/>
              <a:t>Finding cause of and mitigating coherent longitudinal oscillations</a:t>
            </a:r>
            <a:endParaRPr lang="en-US">
              <a:cs typeface="Arial"/>
            </a:endParaRPr>
          </a:p>
          <a:p>
            <a:pPr lvl="1" indent="-271145"/>
            <a:r>
              <a:rPr lang="en-US" dirty="0"/>
              <a:t>Faster energy changes and effects on the spill </a:t>
            </a:r>
            <a:endParaRPr lang="en-US">
              <a:cs typeface="Arial"/>
            </a:endParaRPr>
          </a:p>
          <a:p>
            <a:pPr lvl="1" indent="-271145"/>
            <a:r>
              <a:rPr lang="en-US" dirty="0"/>
              <a:t>Different RFKO excitations signals </a:t>
            </a:r>
            <a:endParaRPr lang="en-US">
              <a:cs typeface="Arial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B58BBD4-24F9-9B05-4F61-2100470C1978}"/>
              </a:ext>
            </a:extLst>
          </p:cNvPr>
          <p:cNvSpPr txBox="1"/>
          <p:nvPr/>
        </p:nvSpPr>
        <p:spPr>
          <a:xfrm>
            <a:off x="6658382" y="5431930"/>
            <a:ext cx="5360504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Thanks to all contributors at TBU </a:t>
            </a:r>
            <a:r>
              <a:rPr lang="en-US" err="1">
                <a:cs typeface="Arial"/>
              </a:rPr>
              <a:t>MedAustron</a:t>
            </a:r>
            <a:r>
              <a:rPr lang="en-US">
                <a:cs typeface="Arial"/>
              </a:rPr>
              <a:t> and students at TU Wien! 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D699E3-28D7-8BDA-6C35-F3085C43E6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24166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86C3BA-A054-8838-1905-90A2BAF1DF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DE9A163-FFC0-6360-E90D-8B2B598D07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en-US"/>
              <a:t>Summary and Outlook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357BB38-FF76-9ADB-05F1-56C4ECD967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7467" y="1580893"/>
            <a:ext cx="9799096" cy="4175125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en-US" u="sng" dirty="0"/>
              <a:t>So far:</a:t>
            </a:r>
          </a:p>
          <a:p>
            <a:pPr lvl="1" indent="-271145"/>
            <a:r>
              <a:rPr lang="en-US" dirty="0"/>
              <a:t>Workflow for arbitrary energy steps established </a:t>
            </a:r>
            <a:endParaRPr lang="en-US">
              <a:cs typeface="Arial"/>
            </a:endParaRPr>
          </a:p>
          <a:p>
            <a:pPr lvl="1" indent="-271145"/>
            <a:r>
              <a:rPr lang="en-US" dirty="0"/>
              <a:t>First exploratory measurements with new MEE and new RFKO exciter control system </a:t>
            </a:r>
            <a:endParaRPr lang="en-US">
              <a:cs typeface="Arial" panose="020B0604020202020204"/>
            </a:endParaRPr>
          </a:p>
          <a:p>
            <a:pPr lvl="1" indent="-271145"/>
            <a:r>
              <a:rPr lang="en-US" dirty="0"/>
              <a:t>Compatibility with Xsuite simulations  </a:t>
            </a:r>
          </a:p>
          <a:p>
            <a:pPr marL="269875" indent="-269875"/>
            <a:endParaRPr lang="en-US" dirty="0">
              <a:cs typeface="Arial" panose="020B0604020202020204"/>
            </a:endParaRPr>
          </a:p>
          <a:p>
            <a:pPr marL="0" indent="0">
              <a:buNone/>
            </a:pPr>
            <a:r>
              <a:rPr lang="en-US" u="sng" dirty="0"/>
              <a:t>Next steps:</a:t>
            </a:r>
            <a:endParaRPr lang="en-US" u="sng">
              <a:cs typeface="Arial"/>
            </a:endParaRPr>
          </a:p>
          <a:p>
            <a:pPr lvl="1" indent="-271145"/>
            <a:r>
              <a:rPr lang="en-US" dirty="0"/>
              <a:t>Finding cause of and mitigating coherent longitudinal oscillations</a:t>
            </a:r>
            <a:endParaRPr lang="en-US">
              <a:cs typeface="Arial"/>
            </a:endParaRPr>
          </a:p>
          <a:p>
            <a:pPr lvl="1" indent="-271145"/>
            <a:r>
              <a:rPr lang="en-US" dirty="0"/>
              <a:t>Faster energy changes and effects on the spill </a:t>
            </a:r>
            <a:endParaRPr lang="en-US">
              <a:cs typeface="Arial"/>
            </a:endParaRPr>
          </a:p>
          <a:p>
            <a:pPr lvl="1" indent="-271145"/>
            <a:r>
              <a:rPr lang="en-US" dirty="0"/>
              <a:t>Different RFKO excitations signals </a:t>
            </a:r>
            <a:endParaRPr lang="en-US">
              <a:cs typeface="Arial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D8801A3-0793-59F5-4E29-6B657446E34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727B34B-7825-3460-8AA8-FFA20CEEE01C}"/>
              </a:ext>
            </a:extLst>
          </p:cNvPr>
          <p:cNvSpPr txBox="1"/>
          <p:nvPr/>
        </p:nvSpPr>
        <p:spPr>
          <a:xfrm>
            <a:off x="6658382" y="5431930"/>
            <a:ext cx="5360504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Thanks to all contributors at TBU </a:t>
            </a:r>
            <a:r>
              <a:rPr lang="en-US" err="1">
                <a:cs typeface="Arial"/>
              </a:rPr>
              <a:t>MedAustron</a:t>
            </a:r>
            <a:r>
              <a:rPr lang="en-US">
                <a:cs typeface="Arial"/>
              </a:rPr>
              <a:t> and students at TU Wien! 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CD55142-1BB6-B282-9DF5-D9992FDA2C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B690733-F9E2-C593-3A8B-AF913F251F1A}"/>
              </a:ext>
            </a:extLst>
          </p:cNvPr>
          <p:cNvSpPr txBox="1"/>
          <p:nvPr/>
        </p:nvSpPr>
        <p:spPr>
          <a:xfrm rot="20400000">
            <a:off x="4859007" y="4340109"/>
            <a:ext cx="5507921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>
                <a:solidFill>
                  <a:schemeClr val="accent1">
                    <a:lumMod val="76000"/>
                  </a:schemeClr>
                </a:solidFill>
                <a:cs typeface="Arial"/>
              </a:rPr>
              <a:t>Thank you for your attention!</a:t>
            </a:r>
          </a:p>
          <a:p>
            <a:r>
              <a:rPr lang="en-US" sz="2400" dirty="0">
                <a:solidFill>
                  <a:schemeClr val="accent1">
                    <a:lumMod val="76000"/>
                  </a:schemeClr>
                </a:solidFill>
                <a:cs typeface="Arial"/>
              </a:rPr>
              <a:t>Questions and input are appreciated!  </a:t>
            </a:r>
          </a:p>
        </p:txBody>
      </p:sp>
    </p:spTree>
    <p:extLst>
      <p:ext uri="{BB962C8B-B14F-4D97-AF65-F5344CB8AC3E}">
        <p14:creationId xmlns:p14="http://schemas.microsoft.com/office/powerpoint/2010/main" val="376107809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en-US"/>
              <a:t>Referenc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797467" y="1439003"/>
            <a:ext cx="9799096" cy="4175125"/>
          </a:xfrm>
        </p:spPr>
        <p:txBody>
          <a:bodyPr/>
          <a:lstStyle/>
          <a:p>
            <a:pPr marL="0" indent="0">
              <a:buNone/>
            </a:pPr>
            <a:r>
              <a:rPr lang="en-US" sz="1600"/>
              <a:t>[1] </a:t>
            </a:r>
            <a:r>
              <a:rPr lang="de-DE" sz="1600"/>
              <a:t>L. </a:t>
            </a:r>
            <a:r>
              <a:rPr lang="de-DE" sz="1600" err="1"/>
              <a:t>Badano</a:t>
            </a:r>
            <a:r>
              <a:rPr lang="de-DE" sz="1600"/>
              <a:t>, M. Benedikt, P. J. Bryant, M. </a:t>
            </a:r>
            <a:r>
              <a:rPr lang="de-DE" sz="1600" err="1"/>
              <a:t>Crescenti</a:t>
            </a:r>
            <a:r>
              <a:rPr lang="de-DE" sz="1600"/>
              <a:t>, P. Holy, A. T. Maier, M. </a:t>
            </a:r>
            <a:r>
              <a:rPr lang="de-DE" sz="1600" err="1"/>
              <a:t>Pullia</a:t>
            </a:r>
            <a:r>
              <a:rPr lang="de-DE" sz="1600"/>
              <a:t>, S. Rossi, P. Knaus. „Proton-Ion Medical </a:t>
            </a:r>
            <a:r>
              <a:rPr lang="de-DE" sz="1600" err="1"/>
              <a:t>Machine</a:t>
            </a:r>
            <a:r>
              <a:rPr lang="de-DE" sz="1600"/>
              <a:t> Study (PIMMS), 1,” CERN-TERA </a:t>
            </a:r>
            <a:r>
              <a:rPr lang="de-DE" sz="1600" err="1"/>
              <a:t>Foundation-MedAustron</a:t>
            </a:r>
            <a:r>
              <a:rPr lang="de-DE" sz="1600"/>
              <a:t> </a:t>
            </a:r>
            <a:r>
              <a:rPr lang="de-DE" sz="1600" err="1"/>
              <a:t>Oncology</a:t>
            </a:r>
            <a:r>
              <a:rPr lang="de-DE" sz="1600"/>
              <a:t> </a:t>
            </a:r>
            <a:r>
              <a:rPr lang="de-DE" sz="1600" err="1"/>
              <a:t>Collaboration</a:t>
            </a:r>
            <a:r>
              <a:rPr lang="de-DE" sz="1600"/>
              <a:t>, CERN (2000), </a:t>
            </a:r>
            <a:r>
              <a:rPr lang="de-DE" sz="1600">
                <a:hlinkClick r:id="rId2"/>
              </a:rPr>
              <a:t>https://cds.cern.ch/record/385378</a:t>
            </a:r>
            <a:r>
              <a:rPr lang="de-DE" sz="1600"/>
              <a:t>.</a:t>
            </a:r>
          </a:p>
          <a:p>
            <a:pPr marL="0" indent="0">
              <a:buNone/>
            </a:pPr>
            <a:r>
              <a:rPr lang="de-DE" sz="1600"/>
              <a:t>[2] </a:t>
            </a:r>
            <a:r>
              <a:rPr lang="en-US" sz="1600"/>
              <a:t>F. </a:t>
            </a:r>
            <a:r>
              <a:rPr lang="en-US" sz="1600" err="1"/>
              <a:t>Kühteubl</a:t>
            </a:r>
            <a:r>
              <a:rPr lang="en-US" sz="1600"/>
              <a:t>. </a:t>
            </a:r>
            <a:r>
              <a:rPr lang="de-DE" sz="1600"/>
              <a:t>„S</a:t>
            </a:r>
            <a:r>
              <a:rPr lang="en-US" sz="1600"/>
              <a:t>low extraction developments at </a:t>
            </a:r>
            <a:r>
              <a:rPr lang="en-US" sz="1600" err="1"/>
              <a:t>MedAustron</a:t>
            </a:r>
            <a:r>
              <a:rPr lang="en-US" sz="1600"/>
              <a:t>,” </a:t>
            </a:r>
            <a:r>
              <a:rPr lang="de-DE" sz="1600"/>
              <a:t>5th Slow </a:t>
            </a:r>
            <a:r>
              <a:rPr lang="de-DE" sz="1600" err="1"/>
              <a:t>Extraction</a:t>
            </a:r>
            <a:r>
              <a:rPr lang="de-DE" sz="1600"/>
              <a:t> Workshop, Wiener Neustadt, Austria (2024).</a:t>
            </a:r>
          </a:p>
          <a:p>
            <a:pPr marL="0" indent="0">
              <a:buNone/>
            </a:pPr>
            <a:r>
              <a:rPr lang="de-DE" sz="1600"/>
              <a:t>[3] F. </a:t>
            </a:r>
            <a:r>
              <a:rPr lang="de-DE" sz="1600" err="1"/>
              <a:t>Plassard</a:t>
            </a:r>
            <a:r>
              <a:rPr lang="de-DE" sz="1600"/>
              <a:t>. „Beam </a:t>
            </a:r>
            <a:r>
              <a:rPr lang="de-DE" sz="1600" err="1"/>
              <a:t>loss</a:t>
            </a:r>
            <a:r>
              <a:rPr lang="de-DE" sz="1600"/>
              <a:t> </a:t>
            </a:r>
            <a:r>
              <a:rPr lang="de-DE" sz="1600" err="1"/>
              <a:t>optimisation</a:t>
            </a:r>
            <a:r>
              <a:rPr lang="de-DE" sz="1600"/>
              <a:t> </a:t>
            </a:r>
            <a:r>
              <a:rPr lang="de-DE" sz="1600" err="1"/>
              <a:t>for</a:t>
            </a:r>
            <a:r>
              <a:rPr lang="de-DE" sz="1600"/>
              <a:t> </a:t>
            </a:r>
            <a:r>
              <a:rPr lang="de-DE" sz="1600" err="1"/>
              <a:t>slow</a:t>
            </a:r>
            <a:r>
              <a:rPr lang="de-DE" sz="1600"/>
              <a:t> </a:t>
            </a:r>
            <a:r>
              <a:rPr lang="de-DE" sz="1600" err="1"/>
              <a:t>extraction</a:t>
            </a:r>
            <a:r>
              <a:rPr lang="de-DE" sz="1600"/>
              <a:t> at </a:t>
            </a:r>
            <a:r>
              <a:rPr lang="de-DE" sz="1600" err="1"/>
              <a:t>MedAustron</a:t>
            </a:r>
            <a:r>
              <a:rPr lang="de-DE" sz="1600"/>
              <a:t>,“ 5th Slow </a:t>
            </a:r>
            <a:r>
              <a:rPr lang="de-DE" sz="1600" err="1"/>
              <a:t>Extraction</a:t>
            </a:r>
            <a:r>
              <a:rPr lang="de-DE" sz="1600"/>
              <a:t> Workshop, Wiener Neustadt, Austria (2024).</a:t>
            </a:r>
          </a:p>
          <a:p>
            <a:pPr marL="0" indent="0">
              <a:buNone/>
            </a:pPr>
            <a:r>
              <a:rPr lang="en-US" sz="1600"/>
              <a:t>[4] </a:t>
            </a:r>
            <a:r>
              <a:rPr lang="de-DE" sz="1600"/>
              <a:t>F. </a:t>
            </a:r>
            <a:r>
              <a:rPr lang="de-DE" sz="1600" err="1"/>
              <a:t>Kühteubl</a:t>
            </a:r>
            <a:r>
              <a:rPr lang="de-DE" sz="1600"/>
              <a:t>. „Slow </a:t>
            </a:r>
            <a:r>
              <a:rPr lang="de-DE" sz="1600" err="1"/>
              <a:t>extraction</a:t>
            </a:r>
            <a:r>
              <a:rPr lang="de-DE" sz="1600"/>
              <a:t> </a:t>
            </a:r>
            <a:r>
              <a:rPr lang="de-DE" sz="1600" err="1"/>
              <a:t>optimisation</a:t>
            </a:r>
            <a:r>
              <a:rPr lang="de-DE" sz="1600"/>
              <a:t> </a:t>
            </a:r>
            <a:r>
              <a:rPr lang="de-DE" sz="1600" err="1"/>
              <a:t>for</a:t>
            </a:r>
            <a:r>
              <a:rPr lang="de-DE" sz="1600"/>
              <a:t> </a:t>
            </a:r>
            <a:r>
              <a:rPr lang="de-DE" sz="1600" err="1"/>
              <a:t>the</a:t>
            </a:r>
            <a:r>
              <a:rPr lang="de-DE" sz="1600"/>
              <a:t> </a:t>
            </a:r>
            <a:r>
              <a:rPr lang="de-DE" sz="1600" err="1"/>
              <a:t>MedAustron</a:t>
            </a:r>
            <a:r>
              <a:rPr lang="de-DE" sz="1600"/>
              <a:t> </a:t>
            </a:r>
            <a:r>
              <a:rPr lang="de-DE" sz="1600" err="1"/>
              <a:t>synchrotron</a:t>
            </a:r>
            <a:r>
              <a:rPr lang="de-DE" sz="1600"/>
              <a:t>,” Dissertation, Technische Universität Wien (2024), </a:t>
            </a:r>
            <a:r>
              <a:rPr lang="de-DE" sz="1600">
                <a:hlinkClick r:id="rId3"/>
              </a:rPr>
              <a:t>https://doi.org/10.34726/hss.2024.88260</a:t>
            </a:r>
            <a:r>
              <a:rPr lang="de-DE" sz="1600"/>
              <a:t>. </a:t>
            </a:r>
          </a:p>
          <a:p>
            <a:pPr marL="0" indent="0">
              <a:buNone/>
            </a:pPr>
            <a:r>
              <a:rPr lang="de-DE" sz="1600"/>
              <a:t>[5] M. Wolf. „</a:t>
            </a:r>
            <a:r>
              <a:rPr lang="en-US" sz="1600"/>
              <a:t>Development of an RF system for slow extraction signal generation and measurement,</a:t>
            </a:r>
            <a:r>
              <a:rPr lang="de-DE" sz="1600"/>
              <a:t>” 5th Slow </a:t>
            </a:r>
            <a:r>
              <a:rPr lang="de-DE" sz="1600" err="1"/>
              <a:t>Extraction</a:t>
            </a:r>
            <a:r>
              <a:rPr lang="de-DE" sz="1600"/>
              <a:t> Workshop, Wiener Neustadt, Austria (2024).</a:t>
            </a:r>
          </a:p>
          <a:p>
            <a:pPr marL="0" indent="0">
              <a:buNone/>
            </a:pPr>
            <a:r>
              <a:rPr lang="de-DE" sz="1600"/>
              <a:t>[6] T. </a:t>
            </a:r>
            <a:r>
              <a:rPr lang="en-US" sz="1600" err="1"/>
              <a:t>Margreiter</a:t>
            </a:r>
            <a:r>
              <a:rPr lang="en-US" sz="1600"/>
              <a:t>. </a:t>
            </a:r>
            <a:r>
              <a:rPr lang="de-DE" sz="1600"/>
              <a:t>„</a:t>
            </a:r>
            <a:r>
              <a:rPr lang="en-US" sz="1600"/>
              <a:t>High-Power Modular </a:t>
            </a:r>
            <a:r>
              <a:rPr lang="en-US" sz="1600" err="1"/>
              <a:t>GaN</a:t>
            </a:r>
            <a:r>
              <a:rPr lang="en-US" sz="1600"/>
              <a:t> Based Power Supply for </a:t>
            </a:r>
            <a:r>
              <a:rPr lang="en-US" sz="1600" err="1"/>
              <a:t>MedAustron</a:t>
            </a:r>
            <a:r>
              <a:rPr lang="en-US" sz="1600"/>
              <a:t> Scanning Magnets,” IPAC(2024).</a:t>
            </a:r>
          </a:p>
          <a:p>
            <a:pPr marL="0" indent="0">
              <a:buNone/>
            </a:pPr>
            <a:r>
              <a:rPr lang="en-US" sz="1600"/>
              <a:t>[7] </a:t>
            </a:r>
            <a:r>
              <a:rPr lang="de-DE" sz="1600"/>
              <a:t>G. </a:t>
            </a:r>
            <a:r>
              <a:rPr lang="de-DE" sz="1600" err="1"/>
              <a:t>Iadarola</a:t>
            </a:r>
            <a:r>
              <a:rPr lang="de-DE" sz="1600"/>
              <a:t>, R. De Maria, S. </a:t>
            </a:r>
            <a:r>
              <a:rPr lang="de-DE" sz="1600" err="1"/>
              <a:t>Łopaciuk</a:t>
            </a:r>
            <a:r>
              <a:rPr lang="de-DE" sz="1600"/>
              <a:t>, A. Abramov, X. </a:t>
            </a:r>
            <a:r>
              <a:rPr lang="de-DE" sz="1600" err="1"/>
              <a:t>Buffat</a:t>
            </a:r>
            <a:r>
              <a:rPr lang="de-DE" sz="1600"/>
              <a:t>, D. </a:t>
            </a:r>
            <a:r>
              <a:rPr lang="de-DE" sz="1600" err="1"/>
              <a:t>Demetriadou</a:t>
            </a:r>
            <a:r>
              <a:rPr lang="de-DE" sz="1600"/>
              <a:t>, L. </a:t>
            </a:r>
            <a:r>
              <a:rPr lang="de-DE" sz="1600" err="1"/>
              <a:t>Deniau</a:t>
            </a:r>
            <a:r>
              <a:rPr lang="de-DE" sz="1600"/>
              <a:t>, P. Hermes, P. </a:t>
            </a:r>
            <a:r>
              <a:rPr lang="de-DE" sz="1600" err="1"/>
              <a:t>Kicsiny</a:t>
            </a:r>
            <a:r>
              <a:rPr lang="de-DE" sz="1600"/>
              <a:t>, P. </a:t>
            </a:r>
            <a:r>
              <a:rPr lang="de-DE" sz="1600" err="1"/>
              <a:t>Kruyt</a:t>
            </a:r>
            <a:r>
              <a:rPr lang="de-DE" sz="1600"/>
              <a:t>, A. Latina, L. </a:t>
            </a:r>
            <a:r>
              <a:rPr lang="de-DE" sz="1600" err="1"/>
              <a:t>Mether</a:t>
            </a:r>
            <a:r>
              <a:rPr lang="de-DE" sz="1600"/>
              <a:t>, K. </a:t>
            </a:r>
            <a:r>
              <a:rPr lang="de-DE" sz="1600" err="1"/>
              <a:t>Paraschou</a:t>
            </a:r>
            <a:r>
              <a:rPr lang="de-DE" sz="1600"/>
              <a:t>, G. </a:t>
            </a:r>
            <a:r>
              <a:rPr lang="de-DE" sz="1600" err="1"/>
              <a:t>Sterbini</a:t>
            </a:r>
            <a:r>
              <a:rPr lang="de-DE" sz="1600"/>
              <a:t>, F. F. Van Der </a:t>
            </a:r>
            <a:r>
              <a:rPr lang="de-DE" sz="1600" err="1"/>
              <a:t>Veken</a:t>
            </a:r>
            <a:r>
              <a:rPr lang="de-DE" sz="1600"/>
              <a:t>, P. </a:t>
            </a:r>
            <a:r>
              <a:rPr lang="de-DE" sz="1600" err="1"/>
              <a:t>Belanger</a:t>
            </a:r>
            <a:r>
              <a:rPr lang="de-DE" sz="1600"/>
              <a:t>, P. </a:t>
            </a:r>
            <a:r>
              <a:rPr lang="de-DE" sz="1600" err="1"/>
              <a:t>Niedermayer</a:t>
            </a:r>
            <a:r>
              <a:rPr lang="de-DE" sz="1600"/>
              <a:t>, D. Di Croce, T. </a:t>
            </a:r>
            <a:r>
              <a:rPr lang="de-DE" sz="1600" err="1"/>
              <a:t>Pieloni</a:t>
            </a:r>
            <a:r>
              <a:rPr lang="de-DE" sz="1600"/>
              <a:t>, L. Van Riesen-Haupt, M. Seidel. „</a:t>
            </a:r>
            <a:r>
              <a:rPr lang="de-DE" sz="1600" err="1"/>
              <a:t>Xsuite</a:t>
            </a:r>
            <a:r>
              <a:rPr lang="de-DE" sz="1600"/>
              <a:t>: An Integrated Beam </a:t>
            </a:r>
            <a:r>
              <a:rPr lang="de-DE" sz="1600" err="1"/>
              <a:t>Physics</a:t>
            </a:r>
            <a:r>
              <a:rPr lang="de-DE" sz="1600"/>
              <a:t> Simulation Framework,” </a:t>
            </a:r>
            <a:r>
              <a:rPr lang="de-DE" sz="1600" err="1"/>
              <a:t>JACoW</a:t>
            </a:r>
            <a:r>
              <a:rPr lang="de-DE" sz="1600"/>
              <a:t> HB2023 (2024), TUA2I1.</a:t>
            </a:r>
          </a:p>
          <a:p>
            <a:pPr marL="0" indent="0">
              <a:buNone/>
            </a:pPr>
            <a:r>
              <a:rPr lang="de-DE" sz="1600"/>
              <a:t>[8] </a:t>
            </a:r>
            <a:r>
              <a:rPr lang="en-US" sz="1600"/>
              <a:t>S. Hancock. </a:t>
            </a:r>
            <a:r>
              <a:rPr lang="de-DE" sz="1600"/>
              <a:t>„ </a:t>
            </a:r>
            <a:r>
              <a:rPr lang="en-US" sz="1600"/>
              <a:t>A simple algorithm for longitudinal phase space tomography,” CERN-PS-RF-Note-97-06 (1997).</a:t>
            </a:r>
            <a:endParaRPr lang="de-DE" sz="1600"/>
          </a:p>
          <a:p>
            <a:pPr marL="0" indent="0">
              <a:buNone/>
            </a:pPr>
            <a:endParaRPr lang="de-DE" sz="1600"/>
          </a:p>
          <a:p>
            <a:pPr marL="0" indent="0">
              <a:buNone/>
            </a:pPr>
            <a:endParaRPr lang="de-DE" sz="1600"/>
          </a:p>
          <a:p>
            <a:pPr marL="0" indent="0">
              <a:buNone/>
            </a:pPr>
            <a:endParaRPr lang="en-US" sz="1600"/>
          </a:p>
          <a:p>
            <a:pPr marL="0" indent="0">
              <a:buNone/>
            </a:pPr>
            <a:endParaRPr lang="de-DE" sz="1600"/>
          </a:p>
          <a:p>
            <a:pPr marL="0" indent="0">
              <a:buNone/>
            </a:pPr>
            <a:endParaRPr lang="en-US" sz="160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060F517-CE14-35CB-1B56-A93C054A90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9087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/>
              <a:t>Multi-</a:t>
            </a:r>
            <a:r>
              <a:rPr lang="de-DE" err="1"/>
              <a:t>Energy</a:t>
            </a:r>
            <a:r>
              <a:rPr lang="de-DE"/>
              <a:t>-</a:t>
            </a:r>
            <a:r>
              <a:rPr lang="de-DE" err="1"/>
              <a:t>Extraction</a:t>
            </a:r>
            <a:r>
              <a:rPr lang="de-DE"/>
              <a:t> (MEE)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 vert="horz" lIns="0" tIns="0" rIns="0" bIns="0" rtlCol="0" anchor="t">
            <a:noAutofit/>
          </a:bodyPr>
          <a:lstStyle/>
          <a:p>
            <a:pPr marL="269875" indent="-269875"/>
            <a:r>
              <a:rPr lang="en-US" u="sng" dirty="0"/>
              <a:t>Motivation</a:t>
            </a:r>
            <a:endParaRPr lang="en-US" dirty="0"/>
          </a:p>
          <a:p>
            <a:pPr lvl="1" indent="-271145"/>
            <a:r>
              <a:rPr lang="de-DE" dirty="0"/>
              <a:t>Ion </a:t>
            </a:r>
            <a:r>
              <a:rPr lang="en-US" dirty="0"/>
              <a:t>beam therapy: </a:t>
            </a:r>
            <a:r>
              <a:rPr lang="en-US" b="1" dirty="0"/>
              <a:t>Bragg-peak</a:t>
            </a:r>
            <a:r>
              <a:rPr lang="en-US" dirty="0"/>
              <a:t> is used to irradiate cancerous tissue layer by layer [1]</a:t>
            </a:r>
            <a:endParaRPr lang="en-US" dirty="0">
              <a:cs typeface="Arial" panose="020B0604020202020204"/>
            </a:endParaRPr>
          </a:p>
          <a:p>
            <a:pPr lvl="1" indent="-271145"/>
            <a:r>
              <a:rPr lang="en-US" dirty="0"/>
              <a:t>Depth of Bragg-peak </a:t>
            </a:r>
            <a:r>
              <a:rPr lang="en-US" b="1" dirty="0"/>
              <a:t>depends on energy </a:t>
            </a:r>
            <a:r>
              <a:rPr lang="en-US" dirty="0"/>
              <a:t>of</a:t>
            </a:r>
            <a:r>
              <a:rPr lang="de-DE" dirty="0"/>
              <a:t> </a:t>
            </a:r>
            <a:r>
              <a:rPr lang="en-US" dirty="0"/>
              <a:t>ions</a:t>
            </a:r>
            <a:r>
              <a:rPr lang="de-DE" dirty="0"/>
              <a:t> </a:t>
            </a:r>
            <a:endParaRPr lang="de-DE" dirty="0">
              <a:cs typeface="Arial" panose="020B0604020202020204"/>
            </a:endParaRPr>
          </a:p>
          <a:p>
            <a:pPr lvl="1" indent="-271145"/>
            <a:r>
              <a:rPr lang="en-US" dirty="0"/>
              <a:t>Currently</a:t>
            </a:r>
            <a:r>
              <a:rPr lang="de-DE" dirty="0"/>
              <a:t>: Single </a:t>
            </a:r>
            <a:r>
              <a:rPr lang="en-US" dirty="0"/>
              <a:t>energy extraction </a:t>
            </a:r>
            <a:endParaRPr lang="en-US" dirty="0">
              <a:cs typeface="Arial" panose="020B0604020202020204"/>
            </a:endParaRPr>
          </a:p>
          <a:p>
            <a:pPr lvl="1" indent="-271145"/>
            <a:r>
              <a:rPr lang="en-US" b="1" dirty="0"/>
              <a:t>Duration of treatment </a:t>
            </a:r>
            <a:r>
              <a:rPr lang="en-US" dirty="0"/>
              <a:t>can be </a:t>
            </a:r>
            <a:r>
              <a:rPr lang="en-US" b="1" dirty="0"/>
              <a:t>reduced</a:t>
            </a:r>
            <a:r>
              <a:rPr lang="en-US" dirty="0"/>
              <a:t> significantly </a:t>
            </a:r>
            <a:endParaRPr lang="en-US" dirty="0">
              <a:cs typeface="Arial" panose="020B0604020202020204"/>
            </a:endParaRPr>
          </a:p>
          <a:p>
            <a:pPr lvl="1" indent="-271145"/>
            <a:r>
              <a:rPr lang="en-US" dirty="0"/>
              <a:t>Efficiency of machine can be improved</a:t>
            </a:r>
            <a:endParaRPr lang="en-US" dirty="0">
              <a:cs typeface="Arial" panose="020B0604020202020204"/>
            </a:endParaRPr>
          </a:p>
          <a:p>
            <a:pPr marL="269875" indent="-269875"/>
            <a:endParaRPr lang="de-DE" dirty="0">
              <a:cs typeface="Arial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F1F5E7C-9FFC-ABBB-26E8-B086D58DFD84}"/>
              </a:ext>
            </a:extLst>
          </p:cNvPr>
          <p:cNvGrpSpPr/>
          <p:nvPr/>
        </p:nvGrpSpPr>
        <p:grpSpPr>
          <a:xfrm>
            <a:off x="7066031" y="3288000"/>
            <a:ext cx="4476611" cy="2154122"/>
            <a:chOff x="7066031" y="3288000"/>
            <a:chExt cx="4476611" cy="2154122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3C0570C-E159-BB97-3461-20CB7348D5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2568" t="48690" r="14041"/>
            <a:stretch>
              <a:fillRect/>
            </a:stretch>
          </p:blipFill>
          <p:spPr>
            <a:xfrm>
              <a:off x="7066031" y="3288000"/>
              <a:ext cx="4474117" cy="2154122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87C38115-7088-AEF2-C8C7-3C510AB2F0ED}"/>
                </a:ext>
              </a:extLst>
            </p:cNvPr>
            <p:cNvSpPr txBox="1"/>
            <p:nvPr/>
          </p:nvSpPr>
          <p:spPr>
            <a:xfrm>
              <a:off x="9886121" y="5068956"/>
              <a:ext cx="1656521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>
                  <a:cs typeface="Arial"/>
                </a:rPr>
                <a:t>© </a:t>
              </a:r>
              <a:r>
                <a:rPr lang="en-US" err="1">
                  <a:cs typeface="Arial"/>
                </a:rPr>
                <a:t>MedAustron</a:t>
              </a:r>
              <a:endParaRPr lang="en-US" err="1"/>
            </a:p>
          </p:txBody>
        </p:sp>
      </p:grpSp>
    </p:spTree>
    <p:extLst>
      <p:ext uri="{BB962C8B-B14F-4D97-AF65-F5344CB8AC3E}">
        <p14:creationId xmlns:p14="http://schemas.microsoft.com/office/powerpoint/2010/main" val="40245864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C965DF-9F8B-1970-FE49-4EFAFF13B3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3CFC241-B771-EB69-BE94-EE3BFC683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/>
              <a:t>Multi-</a:t>
            </a:r>
            <a:r>
              <a:rPr lang="de-DE" err="1"/>
              <a:t>Energy</a:t>
            </a:r>
            <a:r>
              <a:rPr lang="de-DE"/>
              <a:t>-</a:t>
            </a:r>
            <a:r>
              <a:rPr lang="de-DE" err="1"/>
              <a:t>Extraction</a:t>
            </a:r>
            <a:r>
              <a:rPr lang="de-DE"/>
              <a:t> (MEE)</a:t>
            </a:r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6E37DF8-64E0-F0A7-45F1-44759F6558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 vert="horz" lIns="0" tIns="0" rIns="0" bIns="0" rtlCol="0" anchor="t">
            <a:noAutofit/>
          </a:bodyPr>
          <a:lstStyle/>
          <a:p>
            <a:pPr marL="269875" indent="-269875"/>
            <a:r>
              <a:rPr lang="en-US" u="sng" dirty="0"/>
              <a:t>Motivation</a:t>
            </a:r>
            <a:endParaRPr lang="en-US" dirty="0"/>
          </a:p>
          <a:p>
            <a:pPr lvl="1" indent="-271145"/>
            <a:r>
              <a:rPr lang="de-DE" dirty="0"/>
              <a:t>Ion </a:t>
            </a:r>
            <a:r>
              <a:rPr lang="en-US" dirty="0"/>
              <a:t>beam therapy: </a:t>
            </a:r>
            <a:r>
              <a:rPr lang="en-US" b="1" dirty="0"/>
              <a:t>Bragg-peak</a:t>
            </a:r>
            <a:r>
              <a:rPr lang="en-US" dirty="0"/>
              <a:t> is used to irradiate cancerous tissue layer by layer [1]</a:t>
            </a:r>
            <a:endParaRPr lang="en-US" dirty="0">
              <a:cs typeface="Arial" panose="020B0604020202020204"/>
            </a:endParaRPr>
          </a:p>
          <a:p>
            <a:pPr lvl="1" indent="-271145"/>
            <a:r>
              <a:rPr lang="en-US" dirty="0"/>
              <a:t>Depth of Bragg-peak </a:t>
            </a:r>
            <a:r>
              <a:rPr lang="en-US" b="1" dirty="0"/>
              <a:t>depends on energy </a:t>
            </a:r>
            <a:r>
              <a:rPr lang="en-US" dirty="0"/>
              <a:t>of</a:t>
            </a:r>
            <a:r>
              <a:rPr lang="de-DE" dirty="0"/>
              <a:t> </a:t>
            </a:r>
            <a:r>
              <a:rPr lang="en-US" dirty="0"/>
              <a:t>ions</a:t>
            </a:r>
            <a:r>
              <a:rPr lang="de-DE" dirty="0"/>
              <a:t> </a:t>
            </a:r>
            <a:endParaRPr lang="de-DE" dirty="0">
              <a:cs typeface="Arial" panose="020B0604020202020204"/>
            </a:endParaRPr>
          </a:p>
          <a:p>
            <a:pPr lvl="1" indent="-271145"/>
            <a:r>
              <a:rPr lang="en-US" dirty="0"/>
              <a:t>Currently</a:t>
            </a:r>
            <a:r>
              <a:rPr lang="de-DE" dirty="0"/>
              <a:t>: Single </a:t>
            </a:r>
            <a:r>
              <a:rPr lang="en-US" dirty="0"/>
              <a:t>energy extraction </a:t>
            </a:r>
            <a:endParaRPr lang="en-US" dirty="0">
              <a:cs typeface="Arial" panose="020B0604020202020204"/>
            </a:endParaRPr>
          </a:p>
          <a:p>
            <a:pPr lvl="1" indent="-271145"/>
            <a:r>
              <a:rPr lang="en-US" b="1" dirty="0"/>
              <a:t>Duration of treatment </a:t>
            </a:r>
            <a:r>
              <a:rPr lang="en-US" dirty="0"/>
              <a:t>can be </a:t>
            </a:r>
            <a:r>
              <a:rPr lang="en-US" b="1" dirty="0"/>
              <a:t>reduced</a:t>
            </a:r>
            <a:r>
              <a:rPr lang="en-US" dirty="0"/>
              <a:t> significantly </a:t>
            </a:r>
            <a:endParaRPr lang="en-US" dirty="0">
              <a:cs typeface="Arial" panose="020B0604020202020204"/>
            </a:endParaRPr>
          </a:p>
          <a:p>
            <a:pPr lvl="1" indent="-271145"/>
            <a:r>
              <a:rPr lang="en-US" dirty="0"/>
              <a:t>Efficiency of machine can be improved</a:t>
            </a:r>
            <a:endParaRPr lang="en-US" dirty="0">
              <a:cs typeface="Arial" panose="020B0604020202020204"/>
            </a:endParaRPr>
          </a:p>
          <a:p>
            <a:pPr lvl="1" indent="-271145"/>
            <a:endParaRPr lang="en-US">
              <a:cs typeface="Arial" panose="020B0604020202020204"/>
            </a:endParaRPr>
          </a:p>
          <a:p>
            <a:pPr marL="269875" indent="-269875"/>
            <a:r>
              <a:rPr lang="de-DE" u="sng" dirty="0"/>
              <a:t>Study </a:t>
            </a:r>
            <a:r>
              <a:rPr lang="en-US" u="sng" dirty="0"/>
              <a:t>goals</a:t>
            </a:r>
            <a:endParaRPr lang="en-US" u="sng" dirty="0">
              <a:cs typeface="Arial" panose="020B0604020202020204"/>
            </a:endParaRPr>
          </a:p>
          <a:p>
            <a:pPr lvl="1" indent="-271145"/>
            <a:r>
              <a:rPr lang="de-DE" dirty="0" err="1">
                <a:cs typeface="Arial"/>
              </a:rPr>
              <a:t>Bunched</a:t>
            </a:r>
            <a:r>
              <a:rPr lang="de-DE" dirty="0">
                <a:cs typeface="Arial"/>
              </a:rPr>
              <a:t> RFKO </a:t>
            </a:r>
          </a:p>
          <a:p>
            <a:pPr lvl="1" indent="-271145"/>
            <a:r>
              <a:rPr lang="de-DE" b="1" dirty="0"/>
              <a:t>Beam </a:t>
            </a:r>
            <a:r>
              <a:rPr lang="de-DE" b="1" dirty="0" err="1"/>
              <a:t>dynamics</a:t>
            </a:r>
            <a:r>
              <a:rPr lang="de-DE" b="1" dirty="0"/>
              <a:t> </a:t>
            </a:r>
            <a:r>
              <a:rPr lang="de-DE" dirty="0" err="1"/>
              <a:t>during</a:t>
            </a:r>
            <a:r>
              <a:rPr lang="de-DE" dirty="0"/>
              <a:t> </a:t>
            </a:r>
            <a:r>
              <a:rPr lang="de-DE" dirty="0" err="1"/>
              <a:t>energy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and </a:t>
            </a:r>
            <a:r>
              <a:rPr lang="de-DE" dirty="0" err="1"/>
              <a:t>effects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pill</a:t>
            </a:r>
            <a:r>
              <a:rPr lang="de-DE" dirty="0"/>
              <a:t> </a:t>
            </a:r>
            <a:endParaRPr lang="de-DE" dirty="0">
              <a:cs typeface="Arial"/>
            </a:endParaRPr>
          </a:p>
          <a:p>
            <a:pPr lvl="1" indent="-271145"/>
            <a:r>
              <a:rPr lang="de-DE" dirty="0" err="1"/>
              <a:t>Identify</a:t>
            </a:r>
            <a:r>
              <a:rPr lang="de-DE" dirty="0"/>
              <a:t> </a:t>
            </a:r>
            <a:r>
              <a:rPr lang="de-DE" b="1" dirty="0" err="1"/>
              <a:t>performance</a:t>
            </a:r>
            <a:r>
              <a:rPr lang="de-DE" b="1" dirty="0"/>
              <a:t> </a:t>
            </a:r>
            <a:r>
              <a:rPr lang="de-DE" b="1" dirty="0" err="1"/>
              <a:t>constraints</a:t>
            </a:r>
            <a:r>
              <a:rPr lang="de-DE" b="1" dirty="0"/>
              <a:t> </a:t>
            </a:r>
            <a:endParaRPr lang="en-US" b="1" dirty="0">
              <a:cs typeface="Arial" panose="020B0604020202020204"/>
            </a:endParaRPr>
          </a:p>
          <a:p>
            <a:pPr lvl="1" indent="-271145"/>
            <a:endParaRPr lang="de-DE" b="1" dirty="0"/>
          </a:p>
          <a:p>
            <a:pPr marL="269875" indent="-269875"/>
            <a:r>
              <a:rPr lang="de-DE" dirty="0"/>
              <a:t>This </a:t>
            </a:r>
            <a:r>
              <a:rPr lang="de-DE" dirty="0" err="1"/>
              <a:t>presentation</a:t>
            </a:r>
            <a:r>
              <a:rPr lang="de-DE" dirty="0"/>
              <a:t>: </a:t>
            </a:r>
            <a:r>
              <a:rPr lang="de-DE" dirty="0" err="1"/>
              <a:t>establishing</a:t>
            </a:r>
            <a:r>
              <a:rPr lang="de-DE" dirty="0"/>
              <a:t> and </a:t>
            </a:r>
            <a:r>
              <a:rPr lang="de-DE" dirty="0" err="1"/>
              <a:t>benchmark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etup</a:t>
            </a:r>
            <a:endParaRPr lang="de-DE" dirty="0">
              <a:cs typeface="Arial" panose="020B0604020202020204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460B447-2634-338D-7C59-A6C81800BA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057315C-29BD-7C2D-A5F9-7D901ACBBE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15631C-F8D2-4244-9A32-8ED98272C4AD}"/>
              </a:ext>
            </a:extLst>
          </p:cNvPr>
          <p:cNvGrpSpPr/>
          <p:nvPr/>
        </p:nvGrpSpPr>
        <p:grpSpPr>
          <a:xfrm>
            <a:off x="7066031" y="3288000"/>
            <a:ext cx="4476611" cy="2154122"/>
            <a:chOff x="7066031" y="3288000"/>
            <a:chExt cx="4476611" cy="2154122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A4F8E4E-7F16-1E1C-5F36-7ACF7549128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2568" t="48690" r="14041"/>
            <a:stretch>
              <a:fillRect/>
            </a:stretch>
          </p:blipFill>
          <p:spPr>
            <a:xfrm>
              <a:off x="7066031" y="3288000"/>
              <a:ext cx="4474117" cy="2154122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781ED9B6-D683-165B-D994-3225F22C7461}"/>
                </a:ext>
              </a:extLst>
            </p:cNvPr>
            <p:cNvSpPr txBox="1"/>
            <p:nvPr/>
          </p:nvSpPr>
          <p:spPr>
            <a:xfrm>
              <a:off x="9886121" y="5068956"/>
              <a:ext cx="1656521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>
                  <a:cs typeface="Arial"/>
                </a:rPr>
                <a:t>© </a:t>
              </a:r>
              <a:r>
                <a:rPr lang="en-US" err="1">
                  <a:cs typeface="Arial"/>
                </a:rPr>
                <a:t>MedAustron</a:t>
              </a:r>
              <a:endParaRPr lang="en-US" err="1"/>
            </a:p>
          </p:txBody>
        </p:sp>
      </p:grpSp>
    </p:spTree>
    <p:extLst>
      <p:ext uri="{BB962C8B-B14F-4D97-AF65-F5344CB8AC3E}">
        <p14:creationId xmlns:p14="http://schemas.microsoft.com/office/powerpoint/2010/main" val="39624187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 err="1"/>
              <a:t>Previous</a:t>
            </a:r>
            <a:r>
              <a:rPr lang="de-DE"/>
              <a:t> Studies at </a:t>
            </a:r>
            <a:r>
              <a:rPr lang="de-DE" err="1"/>
              <a:t>MedAustron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11393"/>
            <a:ext cx="5406372" cy="4842566"/>
          </a:xfrm>
        </p:spPr>
        <p:txBody>
          <a:bodyPr vert="horz" lIns="0" tIns="0" rIns="0" bIns="0" rtlCol="0" anchor="t">
            <a:noAutofit/>
          </a:bodyPr>
          <a:lstStyle/>
          <a:p>
            <a:pPr marL="269875" indent="-269875"/>
            <a:r>
              <a:rPr lang="en-US"/>
              <a:t>Summary of studies done by Florian </a:t>
            </a:r>
            <a:r>
              <a:rPr lang="en-US" err="1"/>
              <a:t>Kühteubl</a:t>
            </a:r>
            <a:r>
              <a:rPr lang="en-US"/>
              <a:t> [2], Dale Prokopovich and Fabien </a:t>
            </a:r>
            <a:r>
              <a:rPr lang="en-US" err="1"/>
              <a:t>Plassard</a:t>
            </a:r>
            <a:r>
              <a:rPr lang="en-US"/>
              <a:t> [3]</a:t>
            </a:r>
          </a:p>
          <a:p>
            <a:pPr marL="269875" indent="-269875"/>
            <a:endParaRPr lang="en-US">
              <a:cs typeface="Arial" panose="020B0604020202020204"/>
            </a:endParaRPr>
          </a:p>
          <a:p>
            <a:pPr marL="269875" indent="-269875"/>
            <a:r>
              <a:rPr lang="en-US" u="sng"/>
              <a:t>MEE test with COSE</a:t>
            </a:r>
            <a:endParaRPr lang="en-US"/>
          </a:p>
          <a:p>
            <a:pPr lvl="1" indent="-271145"/>
            <a:r>
              <a:rPr lang="en-US"/>
              <a:t>10 energy steps of 1 MeV [4]</a:t>
            </a:r>
            <a:endParaRPr lang="en-US">
              <a:cs typeface="Arial" panose="020B0604020202020204"/>
            </a:endParaRPr>
          </a:p>
          <a:p>
            <a:pPr lvl="1" indent="-271145"/>
            <a:endParaRPr lang="en-US"/>
          </a:p>
          <a:p>
            <a:pPr marL="269875" indent="-269875"/>
            <a:r>
              <a:rPr lang="en-US" u="sng"/>
              <a:t>RFKO</a:t>
            </a:r>
            <a:endParaRPr lang="en-US" u="sng">
              <a:cs typeface="Arial" panose="020B0604020202020204"/>
            </a:endParaRPr>
          </a:p>
          <a:p>
            <a:pPr lvl="1" indent="-271145"/>
            <a:r>
              <a:rPr lang="en-US"/>
              <a:t>Optic settings with similar spill characteristics as </a:t>
            </a:r>
            <a:r>
              <a:rPr lang="en-US" err="1"/>
              <a:t>betatron</a:t>
            </a:r>
            <a:r>
              <a:rPr lang="en-US"/>
              <a:t> driven extraction for clinical use [4]</a:t>
            </a:r>
            <a:endParaRPr lang="en-US">
              <a:cs typeface="Arial" panose="020B0604020202020204"/>
            </a:endParaRPr>
          </a:p>
          <a:p>
            <a:pPr lvl="1" indent="-271145"/>
            <a:r>
              <a:rPr lang="en-US"/>
              <a:t>Loss mitigation studies for bunched RFKO </a:t>
            </a:r>
          </a:p>
          <a:p>
            <a:pPr marL="804545" lvl="2"/>
            <a:r>
              <a:rPr lang="en-US"/>
              <a:t>Reduce bucket height </a:t>
            </a:r>
          </a:p>
          <a:p>
            <a:pPr marL="804545" lvl="2"/>
            <a:r>
              <a:rPr lang="en-US"/>
              <a:t>Increase tune-distance by using radial loop offset </a:t>
            </a:r>
            <a:endParaRPr lang="en-US">
              <a:cs typeface="Arial" panose="020B0604020202020204"/>
              <a:sym typeface="Wingdings" panose="05000000000000000000" pitchFamily="2" charset="2"/>
            </a:endParaRPr>
          </a:p>
          <a:p>
            <a:pPr lvl="1" indent="-271145"/>
            <a:endParaRPr lang="de-DE">
              <a:cs typeface="Arial" panose="020B0604020202020204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39" t="10757"/>
          <a:stretch/>
        </p:blipFill>
        <p:spPr>
          <a:xfrm>
            <a:off x="6951516" y="1064195"/>
            <a:ext cx="4086900" cy="261263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20" t="8902"/>
          <a:stretch/>
        </p:blipFill>
        <p:spPr>
          <a:xfrm>
            <a:off x="6952935" y="3823154"/>
            <a:ext cx="4095376" cy="269932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0128448" y="1024665"/>
            <a:ext cx="864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/>
              <a:t>930 V</a:t>
            </a:r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10200456" y="3690030"/>
            <a:ext cx="792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/>
              <a:t>140 V</a:t>
            </a:r>
            <a:endParaRPr lang="en-US"/>
          </a:p>
        </p:txBody>
      </p:sp>
      <p:sp>
        <p:nvSpPr>
          <p:cNvPr id="15" name="Down Arrow 14"/>
          <p:cNvSpPr/>
          <p:nvPr/>
        </p:nvSpPr>
        <p:spPr>
          <a:xfrm>
            <a:off x="9922320" y="3528633"/>
            <a:ext cx="216024" cy="30168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4065587-0A26-225D-6520-A112E7C214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7920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 err="1">
                <a:cs typeface="Arial"/>
              </a:rPr>
              <a:t>Developments</a:t>
            </a:r>
            <a:r>
              <a:rPr lang="de-DE">
                <a:cs typeface="Arial"/>
              </a:rPr>
              <a:t> </a:t>
            </a:r>
            <a:r>
              <a:rPr lang="de-DE" err="1">
                <a:cs typeface="Arial"/>
              </a:rPr>
              <a:t>for</a:t>
            </a:r>
            <a:r>
              <a:rPr lang="de-DE">
                <a:cs typeface="Arial"/>
              </a:rPr>
              <a:t> RFKO ME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/>
          <a:lstStyle/>
          <a:p>
            <a:r>
              <a:rPr lang="en-US" u="sng"/>
              <a:t>Newly implemented MEE</a:t>
            </a:r>
          </a:p>
          <a:p>
            <a:pPr lvl="1"/>
            <a:r>
              <a:rPr lang="en-US"/>
              <a:t>Custom waveform for power converters of all main ring magnets and the RF cavity </a:t>
            </a:r>
          </a:p>
          <a:p>
            <a:pPr lvl="1"/>
            <a:r>
              <a:rPr lang="en-US"/>
              <a:t>Enables up- and downwards operation for arbitrary energy steps 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04C2B20-A486-A9D1-9C03-C1530CDB59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370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 err="1"/>
              <a:t>Developments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RFKO MEE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 vert="horz" lIns="0" tIns="0" rIns="0" bIns="0" rtlCol="0" anchor="t">
            <a:noAutofit/>
          </a:bodyPr>
          <a:lstStyle/>
          <a:p>
            <a:pPr marL="269875" indent="-269875"/>
            <a:r>
              <a:rPr lang="en-US" u="sng"/>
              <a:t>Newly implemented MEE</a:t>
            </a:r>
            <a:endParaRPr lang="en-US"/>
          </a:p>
          <a:p>
            <a:pPr lvl="1" indent="-271145"/>
            <a:r>
              <a:rPr lang="en-US"/>
              <a:t>Custom waveform for power converters of all main ring magnets and the RF cavity </a:t>
            </a:r>
            <a:endParaRPr lang="en-US">
              <a:cs typeface="Arial" panose="020B0604020202020204"/>
            </a:endParaRPr>
          </a:p>
          <a:p>
            <a:pPr lvl="1" indent="-271145"/>
            <a:r>
              <a:rPr lang="en-US"/>
              <a:t>Enables up- and downwards operation for arbitrary energy steps </a:t>
            </a:r>
            <a:endParaRPr lang="en-US">
              <a:cs typeface="Arial" panose="020B0604020202020204"/>
            </a:endParaRPr>
          </a:p>
          <a:p>
            <a:pPr marL="269875" indent="-269875"/>
            <a:r>
              <a:rPr lang="en-US" u="sng"/>
              <a:t>New RFKO setup: µTCA-crate</a:t>
            </a:r>
            <a:endParaRPr lang="en-US" u="sng">
              <a:cs typeface="Arial"/>
            </a:endParaRPr>
          </a:p>
          <a:p>
            <a:pPr lvl="1" indent="-271145"/>
            <a:r>
              <a:rPr lang="en-US"/>
              <a:t>Combination of different signals, amplitude modulation and triggering are possible [5]</a:t>
            </a:r>
            <a:endParaRPr lang="en-US">
              <a:cs typeface="Arial" panose="020B0604020202020204"/>
            </a:endParaRPr>
          </a:p>
          <a:p>
            <a:pPr lvl="1" indent="-271145"/>
            <a:r>
              <a:rPr lang="en-US"/>
              <a:t>First benchmark measurements</a:t>
            </a:r>
            <a:endParaRPr lang="en-US">
              <a:cs typeface="Arial" panose="020B0604020202020204"/>
            </a:endParaRPr>
          </a:p>
          <a:p>
            <a:pPr marL="804545" lvl="2"/>
            <a:r>
              <a:rPr lang="en-US"/>
              <a:t>Binary phase shift keying with </a:t>
            </a:r>
            <a:r>
              <a:rPr lang="en-US" b="1"/>
              <a:t>same band width but appropriate central frequency</a:t>
            </a:r>
            <a:r>
              <a:rPr lang="en-US"/>
              <a:t> applied for extraction </a:t>
            </a:r>
            <a:endParaRPr lang="en-US">
              <a:cs typeface="Arial" panose="020B0604020202020204"/>
            </a:endParaRPr>
          </a:p>
          <a:p>
            <a:pPr marL="0" indent="0">
              <a:buNone/>
            </a:pPr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26ABF19-81B1-05D0-5936-17A8CF51F7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3369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07065" y="610328"/>
            <a:ext cx="9289498" cy="828675"/>
          </a:xfrm>
        </p:spPr>
        <p:txBody>
          <a:bodyPr/>
          <a:lstStyle/>
          <a:p>
            <a:r>
              <a:rPr lang="de-DE" err="1"/>
              <a:t>Developments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RFKO MEE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308100" y="1201497"/>
            <a:ext cx="9288463" cy="4175125"/>
          </a:xfrm>
        </p:spPr>
        <p:txBody>
          <a:bodyPr vert="horz" lIns="0" tIns="0" rIns="0" bIns="0" rtlCol="0" anchor="t">
            <a:noAutofit/>
          </a:bodyPr>
          <a:lstStyle/>
          <a:p>
            <a:pPr marL="269875" indent="-269875"/>
            <a:r>
              <a:rPr lang="en-US" u="sng"/>
              <a:t>Newly implemented MEE</a:t>
            </a:r>
            <a:endParaRPr lang="en-US"/>
          </a:p>
          <a:p>
            <a:pPr lvl="1" indent="-271145"/>
            <a:r>
              <a:rPr lang="en-US"/>
              <a:t>Custom waveform for power converters of all main ring magnets and the RF cavity </a:t>
            </a:r>
            <a:endParaRPr lang="en-US">
              <a:cs typeface="Arial" panose="020B0604020202020204"/>
            </a:endParaRPr>
          </a:p>
          <a:p>
            <a:pPr lvl="1" indent="-271145"/>
            <a:r>
              <a:rPr lang="en-US"/>
              <a:t>Enables up- and downwards operation for arbitrary energy steps </a:t>
            </a:r>
            <a:endParaRPr lang="en-US">
              <a:cs typeface="Arial" panose="020B0604020202020204"/>
            </a:endParaRPr>
          </a:p>
          <a:p>
            <a:pPr marL="269875" indent="-269875"/>
            <a:r>
              <a:rPr lang="en-US" u="sng"/>
              <a:t>New RFKO setup: µTCA-crate</a:t>
            </a:r>
            <a:endParaRPr lang="en-US" u="sng">
              <a:cs typeface="Arial"/>
            </a:endParaRPr>
          </a:p>
          <a:p>
            <a:pPr lvl="1" indent="-271145"/>
            <a:r>
              <a:rPr lang="en-US"/>
              <a:t>Combination of different signals, amplitude modulation and triggering are possible [5]</a:t>
            </a:r>
            <a:endParaRPr lang="en-US">
              <a:cs typeface="Arial" panose="020B0604020202020204"/>
            </a:endParaRPr>
          </a:p>
          <a:p>
            <a:pPr lvl="1" indent="-271145"/>
            <a:r>
              <a:rPr lang="en-US"/>
              <a:t>First benchmark measurements</a:t>
            </a:r>
            <a:endParaRPr lang="en-US">
              <a:cs typeface="Arial" panose="020B0604020202020204"/>
            </a:endParaRPr>
          </a:p>
          <a:p>
            <a:pPr marL="804545" lvl="2"/>
            <a:r>
              <a:rPr lang="en-US"/>
              <a:t>Binary phase shift keying with</a:t>
            </a:r>
            <a:r>
              <a:rPr lang="en-US" b="1"/>
              <a:t> same band width but appropriate central frequency </a:t>
            </a:r>
            <a:r>
              <a:rPr lang="en-US"/>
              <a:t>applied for extraction </a:t>
            </a:r>
            <a:endParaRPr lang="en-US">
              <a:cs typeface="Arial" panose="020B0604020202020204"/>
            </a:endParaRPr>
          </a:p>
          <a:p>
            <a:pPr marL="269875" indent="-269875"/>
            <a:r>
              <a:rPr lang="de-DE" u="sng" err="1"/>
              <a:t>Implications</a:t>
            </a:r>
            <a:r>
              <a:rPr lang="de-DE" u="sng"/>
              <a:t> </a:t>
            </a:r>
            <a:r>
              <a:rPr lang="de-DE" u="sng" err="1"/>
              <a:t>of</a:t>
            </a:r>
            <a:r>
              <a:rPr lang="de-DE" u="sng"/>
              <a:t> </a:t>
            </a:r>
            <a:r>
              <a:rPr lang="de-DE" u="sng" err="1"/>
              <a:t>setup</a:t>
            </a:r>
            <a:endParaRPr lang="de-DE" u="sng" err="1">
              <a:cs typeface="Arial"/>
            </a:endParaRPr>
          </a:p>
          <a:p>
            <a:pPr lvl="1" indent="-271145"/>
            <a:r>
              <a:rPr lang="de-DE"/>
              <a:t>All </a:t>
            </a:r>
            <a:r>
              <a:rPr lang="de-DE" err="1"/>
              <a:t>main</a:t>
            </a:r>
            <a:r>
              <a:rPr lang="de-DE"/>
              <a:t> ring </a:t>
            </a:r>
            <a:r>
              <a:rPr lang="de-DE" err="1"/>
              <a:t>magnets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</a:t>
            </a:r>
            <a:r>
              <a:rPr lang="de-DE" err="1"/>
              <a:t>current</a:t>
            </a:r>
            <a:r>
              <a:rPr lang="de-DE"/>
              <a:t> </a:t>
            </a:r>
            <a:r>
              <a:rPr lang="de-DE" err="1"/>
              <a:t>regulated</a:t>
            </a:r>
            <a:r>
              <a:rPr lang="de-DE"/>
              <a:t> </a:t>
            </a:r>
            <a:endParaRPr lang="de-DE">
              <a:cs typeface="Arial" panose="020B0604020202020204"/>
            </a:endParaRPr>
          </a:p>
          <a:p>
            <a:pPr lvl="1" indent="-271145"/>
            <a:r>
              <a:rPr lang="de-DE"/>
              <a:t>Possible </a:t>
            </a:r>
            <a:r>
              <a:rPr lang="de-DE" err="1"/>
              <a:t>mismatches</a:t>
            </a:r>
            <a:r>
              <a:rPr lang="de-DE"/>
              <a:t> in </a:t>
            </a:r>
            <a:r>
              <a:rPr lang="de-DE" err="1"/>
              <a:t>energy</a:t>
            </a:r>
            <a:endParaRPr lang="en-US">
              <a:cs typeface="Arial" panose="020B0604020202020204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Katrin Holzfeind | 6thSX MEE | </a:t>
            </a:r>
            <a:r>
              <a:rPr lang="de-AT" err="1"/>
              <a:t>October</a:t>
            </a:r>
            <a:r>
              <a:rPr lang="de-AT"/>
              <a:t> 2025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9B927C-0E98-7C29-3234-39E79BFB7B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74190" y="468438"/>
            <a:ext cx="2300769" cy="646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1208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LANG_DEF" val="3079"/>
  <p:tag name="LANG_NAME" val="German Austria"/>
  <p:tag name="MASTCOUNT" val="1"/>
  <p:tag name="DES1LAYOUTCOUNT" val="33"/>
  <p:tag name="LINGO_COUNT" val="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TU Wien">
  <a:themeElements>
    <a:clrScheme name="TU Wien">
      <a:dk1>
        <a:srgbClr val="000000"/>
      </a:dk1>
      <a:lt1>
        <a:srgbClr val="FFFFFF"/>
      </a:lt1>
      <a:dk2>
        <a:srgbClr val="006699"/>
      </a:dk2>
      <a:lt2>
        <a:srgbClr val="DFF2FD"/>
      </a:lt2>
      <a:accent1>
        <a:srgbClr val="006699"/>
      </a:accent1>
      <a:accent2>
        <a:srgbClr val="72ADD5"/>
      </a:accent2>
      <a:accent3>
        <a:srgbClr val="A6D5EC"/>
      </a:accent3>
      <a:accent4>
        <a:srgbClr val="DFF2FD"/>
      </a:accent4>
      <a:accent5>
        <a:srgbClr val="646363"/>
      </a:accent5>
      <a:accent6>
        <a:srgbClr val="5485AB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 1">
      <a:srgbClr val="5485AB"/>
    </a:custClr>
    <a:custClr name="Blau 2">
      <a:srgbClr val="72ADD5"/>
    </a:custClr>
    <a:custClr name="Blau 3">
      <a:srgbClr val="A6D5EC"/>
    </a:custClr>
    <a:custClr name="Blau 4">
      <a:srgbClr val="DFF2FD"/>
    </a:custClr>
    <a:custClr name="Grün 1">
      <a:srgbClr val="007E71"/>
    </a:custClr>
    <a:custClr name="Grün 2">
      <a:srgbClr val="6AAAA5"/>
    </a:custClr>
    <a:custClr name="Grün 3">
      <a:srgbClr val="A2C6C2"/>
    </a:custClr>
    <a:custClr name="Grün 4">
      <a:srgbClr val="E9F1F0"/>
    </a:custClr>
    <a:custClr name="Magenta 1">
      <a:srgbClr val="BA4682"/>
    </a:custClr>
    <a:custClr name="Magenta 2">
      <a:srgbClr val="CD81A8"/>
    </a:custClr>
    <a:custClr name="Magenta 3">
      <a:srgbClr val="DFAFCA"/>
    </a:custClr>
    <a:custClr name="Magenta 4">
      <a:srgbClr val="F5E5EF"/>
    </a:custClr>
    <a:custClr name="Orange 1">
      <a:srgbClr val="E18922"/>
    </a:custClr>
    <a:custClr name="Orange 2">
      <a:srgbClr val="EEB473"/>
    </a:custClr>
    <a:custClr name="Orange 3">
      <a:srgbClr val="F5D0A8"/>
    </a:custClr>
    <a:custClr name="Orange 4">
      <a:srgbClr val="FDEFE1"/>
    </a:custClr>
    <a:custClr name="Grau 1">
      <a:srgbClr val="646363"/>
    </a:custClr>
    <a:custClr name="Grau 2">
      <a:srgbClr val="9D9D9C"/>
    </a:custClr>
    <a:custClr name="Grau 3">
      <a:srgbClr val="D0D0D0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TU_MedAsutron.potx" id="{EAC0A95D-36C8-4F26-BA8A-7DC0A2CE40CC}" vid="{5B910340-8D0D-4A5D-82BC-094E78E9084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TU Wien">
    <a:dk1>
      <a:srgbClr val="000000"/>
    </a:dk1>
    <a:lt1>
      <a:srgbClr val="FFFFFF"/>
    </a:lt1>
    <a:dk2>
      <a:srgbClr val="006699"/>
    </a:dk2>
    <a:lt2>
      <a:srgbClr val="DFF2FD"/>
    </a:lt2>
    <a:accent1>
      <a:srgbClr val="006699"/>
    </a:accent1>
    <a:accent2>
      <a:srgbClr val="72ADD5"/>
    </a:accent2>
    <a:accent3>
      <a:srgbClr val="A6D5EC"/>
    </a:accent3>
    <a:accent4>
      <a:srgbClr val="DFF2FD"/>
    </a:accent4>
    <a:accent5>
      <a:srgbClr val="646363"/>
    </a:accent5>
    <a:accent6>
      <a:srgbClr val="5485AB"/>
    </a:accent6>
    <a:hlink>
      <a:srgbClr val="000000"/>
    </a:hlink>
    <a:folHlink>
      <a:srgbClr val="0000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35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36" baseType="lpstr">
      <vt:lpstr>TU Wien</vt:lpstr>
      <vt:lpstr>Investigations into  Multi-Energy Extraction at MedAustron</vt:lpstr>
      <vt:lpstr>MedAustron </vt:lpstr>
      <vt:lpstr>MedAustron </vt:lpstr>
      <vt:lpstr>Multi-Energy-Extraction (MEE)</vt:lpstr>
      <vt:lpstr>Multi-Energy-Extraction (MEE)</vt:lpstr>
      <vt:lpstr>Previous Studies at MedAustron</vt:lpstr>
      <vt:lpstr>Developments for RFKO MEE</vt:lpstr>
      <vt:lpstr>Developments for RFKO MEE</vt:lpstr>
      <vt:lpstr>Developments for RFKO MEE</vt:lpstr>
      <vt:lpstr>Developments for RFKO MEE</vt:lpstr>
      <vt:lpstr>Developments for RFKO MEE</vt:lpstr>
      <vt:lpstr>Developments for RFKO MEE</vt:lpstr>
      <vt:lpstr>Developments for RFKO MEE</vt:lpstr>
      <vt:lpstr>Xsuite Simulations</vt:lpstr>
      <vt:lpstr>System Implementation Tests: ΔE = 1 MeV</vt:lpstr>
      <vt:lpstr>System Implementation Tests: ΔE = 1 MeV</vt:lpstr>
      <vt:lpstr>System Implementation Tests: ΔE = 1 MeV</vt:lpstr>
      <vt:lpstr>System Implementation Tests: ΔE = 1 MeV</vt:lpstr>
      <vt:lpstr>System Implementation Tests: ΔE = 1 MeV</vt:lpstr>
      <vt:lpstr>System Implementation Tests: ΔE = 1 MeV</vt:lpstr>
      <vt:lpstr>System Implementation Tests: ΔE = −20 MeV</vt:lpstr>
      <vt:lpstr>System Implementation Tests: ΔE = −20 MeV</vt:lpstr>
      <vt:lpstr>System Implementation Tests: ΔE = −20 MeV</vt:lpstr>
      <vt:lpstr>System Implementation Tests: ΔE = −20 MeV</vt:lpstr>
      <vt:lpstr>System Implementation Tests: ΔE = −20 MeV</vt:lpstr>
      <vt:lpstr>System Implementation Tests: ΔE = −20 MeV</vt:lpstr>
      <vt:lpstr>System Implementation Tests: ΔE = ± 4 MeV</vt:lpstr>
      <vt:lpstr>System Implementation Tests: ΔE = ± 4 MeV</vt:lpstr>
      <vt:lpstr>System Implementation Tests: ΔE = ± 4 MeV</vt:lpstr>
      <vt:lpstr>Longitudinal Tomography after Energy Change</vt:lpstr>
      <vt:lpstr>Longitudinal Mismatches at Flat Top</vt:lpstr>
      <vt:lpstr>930 V</vt:lpstr>
      <vt:lpstr>Summary and Outlook</vt:lpstr>
      <vt:lpstr>Summary and Outlook</vt:lpstr>
      <vt:lpstr>References</vt:lpstr>
    </vt:vector>
  </TitlesOfParts>
  <Company>MedAustr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vestigations into  Multi-Energy-Extraction at MedAustron</dc:title>
  <dc:creator>Holzfeind Katrin - TU Wien</dc:creator>
  <cp:revision>236</cp:revision>
  <dcterms:created xsi:type="dcterms:W3CDTF">2025-09-17T08:04:12Z</dcterms:created>
  <dcterms:modified xsi:type="dcterms:W3CDTF">2025-10-07T02:22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F7283A7873274F8E189EC753F03E5A</vt:lpwstr>
  </property>
</Properties>
</file>